
<file path=[Content_Types].xml><?xml version="1.0" encoding="utf-8"?>
<Types xmlns="http://schemas.openxmlformats.org/package/2006/content-types">
  <Default Extension="png" ContentType="image/png"/>
  <Default Extension="tmp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tiff" ContentType="image/tif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0"/>
  </p:notesMasterIdLst>
  <p:sldIdLst>
    <p:sldId id="1133" r:id="rId2"/>
    <p:sldId id="1454" r:id="rId3"/>
    <p:sldId id="1298" r:id="rId4"/>
    <p:sldId id="1339" r:id="rId5"/>
    <p:sldId id="1438" r:id="rId6"/>
    <p:sldId id="1439" r:id="rId7"/>
    <p:sldId id="1440" r:id="rId8"/>
    <p:sldId id="1441" r:id="rId9"/>
    <p:sldId id="1442" r:id="rId10"/>
    <p:sldId id="1443" r:id="rId11"/>
    <p:sldId id="1444" r:id="rId12"/>
    <p:sldId id="1453" r:id="rId13"/>
    <p:sldId id="1446" r:id="rId14"/>
    <p:sldId id="1447" r:id="rId15"/>
    <p:sldId id="1448" r:id="rId16"/>
    <p:sldId id="1452" r:id="rId17"/>
    <p:sldId id="1450" r:id="rId18"/>
    <p:sldId id="1451" r:id="rId19"/>
  </p:sldIdLst>
  <p:sldSz cx="12192000" cy="6858000"/>
  <p:notesSz cx="6858000" cy="9144000"/>
  <p:custDataLst>
    <p:tags r:id="rId21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ováková Tereza Mgr." initials="NTM" lastIdx="1" clrIdx="0">
    <p:extLst>
      <p:ext uri="{19B8F6BF-5375-455C-9EA6-DF929625EA0E}">
        <p15:presenceInfo xmlns:p15="http://schemas.microsoft.com/office/powerpoint/2012/main" userId="S::novakovat@mzcr.cz::9b40fe94-c8d5-4b97-8e02-cc7b1fbd694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00FF00"/>
    <a:srgbClr val="FF6600"/>
    <a:srgbClr val="305983"/>
    <a:srgbClr val="00CD61"/>
    <a:srgbClr val="D31145"/>
    <a:srgbClr val="FFC000"/>
    <a:srgbClr val="0070C0"/>
    <a:srgbClr val="00B050"/>
    <a:srgbClr val="44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173" autoAdjust="0"/>
    <p:restoredTop sz="95297" autoAdjust="0"/>
  </p:normalViewPr>
  <p:slideViewPr>
    <p:cSldViewPr snapToGrid="0">
      <p:cViewPr varScale="1">
        <p:scale>
          <a:sx n="107" d="100"/>
          <a:sy n="107" d="100"/>
        </p:scale>
        <p:origin x="198" y="114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5180</c:v>
                </c:pt>
                <c:pt idx="1">
                  <c:v>4561</c:v>
                </c:pt>
                <c:pt idx="2">
                  <c:v>4624</c:v>
                </c:pt>
                <c:pt idx="3">
                  <c:v>4747</c:v>
                </c:pt>
                <c:pt idx="4">
                  <c:v>3312</c:v>
                </c:pt>
                <c:pt idx="5">
                  <c:v>1112</c:v>
                </c:pt>
                <c:pt idx="6">
                  <c:v>4251</c:v>
                </c:pt>
                <c:pt idx="7">
                  <c:v>5855</c:v>
                </c:pt>
                <c:pt idx="8">
                  <c:v>6415</c:v>
                </c:pt>
                <c:pt idx="9">
                  <c:v>5872</c:v>
                </c:pt>
                <c:pt idx="10">
                  <c:v>6209</c:v>
                </c:pt>
                <c:pt idx="11">
                  <c:v>3655</c:v>
                </c:pt>
                <c:pt idx="12">
                  <c:v>1998</c:v>
                </c:pt>
                <c:pt idx="13">
                  <c:v>5176</c:v>
                </c:pt>
                <c:pt idx="14">
                  <c:v>7908</c:v>
                </c:pt>
                <c:pt idx="15">
                  <c:v>8258</c:v>
                </c:pt>
                <c:pt idx="16">
                  <c:v>7614</c:v>
                </c:pt>
                <c:pt idx="17">
                  <c:v>8838</c:v>
                </c:pt>
                <c:pt idx="18">
                  <c:v>5326</c:v>
                </c:pt>
                <c:pt idx="19">
                  <c:v>3403</c:v>
                </c:pt>
                <c:pt idx="20">
                  <c:v>7950</c:v>
                </c:pt>
                <c:pt idx="21">
                  <c:v>10915</c:v>
                </c:pt>
                <c:pt idx="22">
                  <c:v>14139</c:v>
                </c:pt>
                <c:pt idx="23">
                  <c:v>4373</c:v>
                </c:pt>
                <c:pt idx="24">
                  <c:v>2671</c:v>
                </c:pt>
                <c:pt idx="25">
                  <c:v>3031</c:v>
                </c:pt>
                <c:pt idx="26">
                  <c:v>3783</c:v>
                </c:pt>
                <c:pt idx="27">
                  <c:v>10937</c:v>
                </c:pt>
                <c:pt idx="28">
                  <c:v>16476</c:v>
                </c:pt>
                <c:pt idx="29">
                  <c:v>17061</c:v>
                </c:pt>
                <c:pt idx="30">
                  <c:v>13309</c:v>
                </c:pt>
                <c:pt idx="31">
                  <c:v>3446</c:v>
                </c:pt>
                <c:pt idx="32">
                  <c:v>4984</c:v>
                </c:pt>
                <c:pt idx="33">
                  <c:v>6268</c:v>
                </c:pt>
                <c:pt idx="34">
                  <c:v>12957</c:v>
                </c:pt>
                <c:pt idx="35">
                  <c:v>17402</c:v>
                </c:pt>
                <c:pt idx="36">
                  <c:v>17771</c:v>
                </c:pt>
                <c:pt idx="37">
                  <c:v>14883</c:v>
                </c:pt>
                <c:pt idx="38">
                  <c:v>13099</c:v>
                </c:pt>
                <c:pt idx="39">
                  <c:v>8438</c:v>
                </c:pt>
                <c:pt idx="40">
                  <c:v>4313</c:v>
                </c:pt>
                <c:pt idx="41">
                  <c:v>9386</c:v>
                </c:pt>
                <c:pt idx="42">
                  <c:v>10811</c:v>
                </c:pt>
                <c:pt idx="43">
                  <c:v>10923</c:v>
                </c:pt>
                <c:pt idx="44">
                  <c:v>8088</c:v>
                </c:pt>
                <c:pt idx="45">
                  <c:v>9301</c:v>
                </c:pt>
                <c:pt idx="46">
                  <c:v>5242</c:v>
                </c:pt>
                <c:pt idx="47">
                  <c:v>2641</c:v>
                </c:pt>
                <c:pt idx="48">
                  <c:v>7668</c:v>
                </c:pt>
                <c:pt idx="49">
                  <c:v>9609</c:v>
                </c:pt>
                <c:pt idx="50">
                  <c:v>8216</c:v>
                </c:pt>
                <c:pt idx="51">
                  <c:v>7534</c:v>
                </c:pt>
                <c:pt idx="52">
                  <c:v>8468</c:v>
                </c:pt>
                <c:pt idx="53">
                  <c:v>4240</c:v>
                </c:pt>
                <c:pt idx="54">
                  <c:v>2394</c:v>
                </c:pt>
                <c:pt idx="55">
                  <c:v>6974</c:v>
                </c:pt>
                <c:pt idx="56">
                  <c:v>9196</c:v>
                </c:pt>
                <c:pt idx="57">
                  <c:v>8504</c:v>
                </c:pt>
                <c:pt idx="58">
                  <c:v>8010</c:v>
                </c:pt>
                <c:pt idx="59">
                  <c:v>8053</c:v>
                </c:pt>
                <c:pt idx="60">
                  <c:v>4055</c:v>
                </c:pt>
                <c:pt idx="61">
                  <c:v>2573</c:v>
                </c:pt>
                <c:pt idx="62">
                  <c:v>7219</c:v>
                </c:pt>
                <c:pt idx="63">
                  <c:v>9150</c:v>
                </c:pt>
                <c:pt idx="64">
                  <c:v>9667</c:v>
                </c:pt>
                <c:pt idx="65">
                  <c:v>8108</c:v>
                </c:pt>
                <c:pt idx="66">
                  <c:v>8623</c:v>
                </c:pt>
                <c:pt idx="67">
                  <c:v>4820</c:v>
                </c:pt>
                <c:pt idx="68">
                  <c:v>2451</c:v>
                </c:pt>
                <c:pt idx="69">
                  <c:v>7777</c:v>
                </c:pt>
                <c:pt idx="70">
                  <c:v>10284</c:v>
                </c:pt>
                <c:pt idx="71">
                  <c:v>9539</c:v>
                </c:pt>
                <c:pt idx="72">
                  <c:v>9018</c:v>
                </c:pt>
                <c:pt idx="73">
                  <c:v>8830</c:v>
                </c:pt>
                <c:pt idx="74">
                  <c:v>5142</c:v>
                </c:pt>
                <c:pt idx="75">
                  <c:v>2880</c:v>
                </c:pt>
                <c:pt idx="76">
                  <c:v>8905</c:v>
                </c:pt>
                <c:pt idx="77">
                  <c:v>12609</c:v>
                </c:pt>
                <c:pt idx="78">
                  <c:v>10939</c:v>
                </c:pt>
                <c:pt idx="79">
                  <c:v>11704</c:v>
                </c:pt>
                <c:pt idx="80">
                  <c:v>11287</c:v>
                </c:pt>
                <c:pt idx="81">
                  <c:v>6774</c:v>
                </c:pt>
                <c:pt idx="82">
                  <c:v>4068</c:v>
                </c:pt>
                <c:pt idx="83">
                  <c:v>11410</c:v>
                </c:pt>
                <c:pt idx="84">
                  <c:v>15840</c:v>
                </c:pt>
                <c:pt idx="85">
                  <c:v>13795</c:v>
                </c:pt>
                <c:pt idx="86">
                  <c:v>14588</c:v>
                </c:pt>
                <c:pt idx="87">
                  <c:v>14776</c:v>
                </c:pt>
                <c:pt idx="88">
                  <c:v>7824</c:v>
                </c:pt>
                <c:pt idx="89">
                  <c:v>4588</c:v>
                </c:pt>
                <c:pt idx="90">
                  <c:v>12325</c:v>
                </c:pt>
                <c:pt idx="91">
                  <c:v>16781</c:v>
                </c:pt>
                <c:pt idx="92">
                  <c:v>15240</c:v>
                </c:pt>
                <c:pt idx="93">
                  <c:v>14649</c:v>
                </c:pt>
                <c:pt idx="94">
                  <c:v>13170</c:v>
                </c:pt>
                <c:pt idx="95">
                  <c:v>9131</c:v>
                </c:pt>
                <c:pt idx="96">
                  <c:v>3983</c:v>
                </c:pt>
                <c:pt idx="97">
                  <c:v>10654</c:v>
                </c:pt>
                <c:pt idx="98">
                  <c:v>15361</c:v>
                </c:pt>
                <c:pt idx="99">
                  <c:v>14538</c:v>
                </c:pt>
                <c:pt idx="100">
                  <c:v>11246</c:v>
                </c:pt>
                <c:pt idx="101">
                  <c:v>14977</c:v>
                </c:pt>
                <c:pt idx="102">
                  <c:v>7027</c:v>
                </c:pt>
                <c:pt idx="103">
                  <c:v>3334</c:v>
                </c:pt>
                <c:pt idx="104">
                  <c:v>10630</c:v>
                </c:pt>
                <c:pt idx="105">
                  <c:v>14027</c:v>
                </c:pt>
                <c:pt idx="106">
                  <c:v>12029</c:v>
                </c:pt>
                <c:pt idx="107">
                  <c:v>10661</c:v>
                </c:pt>
                <c:pt idx="108">
                  <c:v>9709</c:v>
                </c:pt>
                <c:pt idx="109">
                  <c:v>5466</c:v>
                </c:pt>
                <c:pt idx="110">
                  <c:v>2391</c:v>
                </c:pt>
                <c:pt idx="111">
                  <c:v>8239</c:v>
                </c:pt>
                <c:pt idx="112">
                  <c:v>10968</c:v>
                </c:pt>
                <c:pt idx="113">
                  <c:v>8851</c:v>
                </c:pt>
                <c:pt idx="114">
                  <c:v>7926</c:v>
                </c:pt>
                <c:pt idx="115">
                  <c:v>7712</c:v>
                </c:pt>
                <c:pt idx="116">
                  <c:v>3970</c:v>
                </c:pt>
                <c:pt idx="117">
                  <c:v>1744</c:v>
                </c:pt>
                <c:pt idx="118">
                  <c:v>6936</c:v>
                </c:pt>
                <c:pt idx="119">
                  <c:v>8630</c:v>
                </c:pt>
                <c:pt idx="120">
                  <c:v>7266</c:v>
                </c:pt>
                <c:pt idx="121">
                  <c:v>6245</c:v>
                </c:pt>
                <c:pt idx="122">
                  <c:v>3837</c:v>
                </c:pt>
                <c:pt idx="123">
                  <c:v>2160</c:v>
                </c:pt>
                <c:pt idx="124">
                  <c:v>1925</c:v>
                </c:pt>
                <c:pt idx="125">
                  <c:v>1419</c:v>
                </c:pt>
                <c:pt idx="126">
                  <c:v>5584</c:v>
                </c:pt>
                <c:pt idx="127">
                  <c:v>7052</c:v>
                </c:pt>
                <c:pt idx="128">
                  <c:v>5283</c:v>
                </c:pt>
                <c:pt idx="129">
                  <c:v>4819</c:v>
                </c:pt>
                <c:pt idx="130">
                  <c:v>2204</c:v>
                </c:pt>
                <c:pt idx="131">
                  <c:v>985</c:v>
                </c:pt>
                <c:pt idx="132">
                  <c:v>3868</c:v>
                </c:pt>
                <c:pt idx="133">
                  <c:v>5055</c:v>
                </c:pt>
                <c:pt idx="134">
                  <c:v>3716</c:v>
                </c:pt>
                <c:pt idx="135">
                  <c:v>3263</c:v>
                </c:pt>
                <c:pt idx="136">
                  <c:v>3217</c:v>
                </c:pt>
                <c:pt idx="137">
                  <c:v>1541</c:v>
                </c:pt>
                <c:pt idx="138">
                  <c:v>833</c:v>
                </c:pt>
                <c:pt idx="139">
                  <c:v>3341</c:v>
                </c:pt>
                <c:pt idx="140">
                  <c:v>3816</c:v>
                </c:pt>
                <c:pt idx="141">
                  <c:v>2951</c:v>
                </c:pt>
                <c:pt idx="142">
                  <c:v>2628</c:v>
                </c:pt>
                <c:pt idx="143">
                  <c:v>2601</c:v>
                </c:pt>
                <c:pt idx="144">
                  <c:v>1308</c:v>
                </c:pt>
                <c:pt idx="145">
                  <c:v>825</c:v>
                </c:pt>
                <c:pt idx="146">
                  <c:v>2579</c:v>
                </c:pt>
                <c:pt idx="147">
                  <c:v>3239</c:v>
                </c:pt>
                <c:pt idx="148">
                  <c:v>2488</c:v>
                </c:pt>
                <c:pt idx="149">
                  <c:v>2229</c:v>
                </c:pt>
                <c:pt idx="150">
                  <c:v>2167</c:v>
                </c:pt>
                <c:pt idx="151">
                  <c:v>1171</c:v>
                </c:pt>
                <c:pt idx="152">
                  <c:v>508</c:v>
                </c:pt>
                <c:pt idx="153">
                  <c:v>2219</c:v>
                </c:pt>
                <c:pt idx="154">
                  <c:v>2415</c:v>
                </c:pt>
                <c:pt idx="155">
                  <c:v>1873</c:v>
                </c:pt>
                <c:pt idx="156">
                  <c:v>1572</c:v>
                </c:pt>
                <c:pt idx="157">
                  <c:v>1638</c:v>
                </c:pt>
                <c:pt idx="158">
                  <c:v>725</c:v>
                </c:pt>
                <c:pt idx="159">
                  <c:v>383</c:v>
                </c:pt>
                <c:pt idx="160">
                  <c:v>1544</c:v>
                </c:pt>
                <c:pt idx="161">
                  <c:v>1690</c:v>
                </c:pt>
                <c:pt idx="162">
                  <c:v>1264</c:v>
                </c:pt>
                <c:pt idx="163">
                  <c:v>1223</c:v>
                </c:pt>
                <c:pt idx="164">
                  <c:v>1051</c:v>
                </c:pt>
                <c:pt idx="165">
                  <c:v>597</c:v>
                </c:pt>
                <c:pt idx="166">
                  <c:v>257</c:v>
                </c:pt>
                <c:pt idx="167">
                  <c:v>1128</c:v>
                </c:pt>
                <c:pt idx="168">
                  <c:v>1199</c:v>
                </c:pt>
                <c:pt idx="169">
                  <c:v>778</c:v>
                </c:pt>
                <c:pt idx="170">
                  <c:v>678</c:v>
                </c:pt>
                <c:pt idx="171">
                  <c:v>671</c:v>
                </c:pt>
                <c:pt idx="172">
                  <c:v>333</c:v>
                </c:pt>
                <c:pt idx="173">
                  <c:v>196</c:v>
                </c:pt>
                <c:pt idx="174">
                  <c:v>696</c:v>
                </c:pt>
                <c:pt idx="175">
                  <c:v>660</c:v>
                </c:pt>
                <c:pt idx="176">
                  <c:v>538</c:v>
                </c:pt>
                <c:pt idx="177">
                  <c:v>505</c:v>
                </c:pt>
                <c:pt idx="178">
                  <c:v>452</c:v>
                </c:pt>
                <c:pt idx="179">
                  <c:v>222</c:v>
                </c:pt>
                <c:pt idx="180">
                  <c:v>112</c:v>
                </c:pt>
                <c:pt idx="181">
                  <c:v>512</c:v>
                </c:pt>
                <c:pt idx="182">
                  <c:v>477</c:v>
                </c:pt>
                <c:pt idx="183">
                  <c:v>350</c:v>
                </c:pt>
                <c:pt idx="184">
                  <c:v>424</c:v>
                </c:pt>
                <c:pt idx="185">
                  <c:v>319</c:v>
                </c:pt>
                <c:pt idx="186">
                  <c:v>152</c:v>
                </c:pt>
                <c:pt idx="187">
                  <c:v>96</c:v>
                </c:pt>
                <c:pt idx="188">
                  <c:v>296</c:v>
                </c:pt>
                <c:pt idx="189">
                  <c:v>384</c:v>
                </c:pt>
                <c:pt idx="190">
                  <c:v>250</c:v>
                </c:pt>
                <c:pt idx="191">
                  <c:v>190</c:v>
                </c:pt>
                <c:pt idx="192">
                  <c:v>180</c:v>
                </c:pt>
                <c:pt idx="193">
                  <c:v>74</c:v>
                </c:pt>
                <c:pt idx="194">
                  <c:v>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0BF-4865-80F1-EB367B454D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0BF-4865-80F1-EB367B454D3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88" formatCode="0">
                  <c:v>12384.817441099038</c:v>
                </c:pt>
                <c:pt idx="89" formatCode="0">
                  <c:v>12382.300839481471</c:v>
                </c:pt>
                <c:pt idx="90" formatCode="0">
                  <c:v>12306.025564485491</c:v>
                </c:pt>
                <c:pt idx="91" formatCode="0">
                  <c:v>12189.368745397778</c:v>
                </c:pt>
                <c:pt idx="92" formatCode="0">
                  <c:v>12048.867966689984</c:v>
                </c:pt>
                <c:pt idx="93" formatCode="0">
                  <c:v>11892.934675110129</c:v>
                </c:pt>
                <c:pt idx="94" formatCode="0">
                  <c:v>11725.834216673125</c:v>
                </c:pt>
                <c:pt idx="95" formatCode="0">
                  <c:v>11550.208209364881</c:v>
                </c:pt>
                <c:pt idx="96" formatCode="0">
                  <c:v>11368.638700943482</c:v>
                </c:pt>
                <c:pt idx="97" formatCode="0">
                  <c:v>11182.822926599361</c:v>
                </c:pt>
                <c:pt idx="98" formatCode="0">
                  <c:v>10992.859014488589</c:v>
                </c:pt>
                <c:pt idx="99" formatCode="0">
                  <c:v>10798.636600479667</c:v>
                </c:pt>
                <c:pt idx="100" formatCode="0">
                  <c:v>10600.269885453818</c:v>
                </c:pt>
                <c:pt idx="101" formatCode="0">
                  <c:v>10398.053951750688</c:v>
                </c:pt>
                <c:pt idx="102" formatCode="0">
                  <c:v>10192.745118692863</c:v>
                </c:pt>
                <c:pt idx="103" formatCode="0">
                  <c:v>9985.9770814224175</c:v>
                </c:pt>
                <c:pt idx="104" formatCode="0">
                  <c:v>9778.8622091860725</c:v>
                </c:pt>
                <c:pt idx="105" formatCode="0">
                  <c:v>9571.2003572318972</c:v>
                </c:pt>
                <c:pt idx="106" formatCode="0">
                  <c:v>9362.7649206321112</c:v>
                </c:pt>
                <c:pt idx="107" formatCode="0">
                  <c:v>9153.44117242436</c:v>
                </c:pt>
                <c:pt idx="108" formatCode="0">
                  <c:v>8943.2337378033681</c:v>
                </c:pt>
                <c:pt idx="109" formatCode="0">
                  <c:v>8732.6825829176378</c:v>
                </c:pt>
                <c:pt idx="110" formatCode="0">
                  <c:v>8523.3015476276541</c:v>
                </c:pt>
                <c:pt idx="111" formatCode="0">
                  <c:v>8316.2290584879775</c:v>
                </c:pt>
                <c:pt idx="112" formatCode="0">
                  <c:v>8111.4045814208403</c:v>
                </c:pt>
                <c:pt idx="113" formatCode="0">
                  <c:v>7908.4062434649368</c:v>
                </c:pt>
                <c:pt idx="114" formatCode="0">
                  <c:v>7707.1973917901341</c:v>
                </c:pt>
                <c:pt idx="115" formatCode="0">
                  <c:v>7507.8580993192882</c:v>
                </c:pt>
                <c:pt idx="116" formatCode="0">
                  <c:v>7310.6559170828687</c:v>
                </c:pt>
                <c:pt idx="117" formatCode="0">
                  <c:v>7116.5812098119522</c:v>
                </c:pt>
                <c:pt idx="118" formatCode="0">
                  <c:v>6926.4590901663696</c:v>
                </c:pt>
                <c:pt idx="119" formatCode="0">
                  <c:v>6740.0615830623565</c:v>
                </c:pt>
                <c:pt idx="120" formatCode="0">
                  <c:v>6557.1801187744095</c:v>
                </c:pt>
                <c:pt idx="121" formatCode="0">
                  <c:v>6377.6959993214505</c:v>
                </c:pt>
                <c:pt idx="122" formatCode="0">
                  <c:v>6201.5713008112043</c:v>
                </c:pt>
                <c:pt idx="123" formatCode="0">
                  <c:v>6028.8239511616448</c:v>
                </c:pt>
                <c:pt idx="124" formatCode="0">
                  <c:v>5860.0111856359517</c:v>
                </c:pt>
                <c:pt idx="125" formatCode="0">
                  <c:v>5695.458952014641</c:v>
                </c:pt>
                <c:pt idx="126" formatCode="0">
                  <c:v>5534.8574913914008</c:v>
                </c:pt>
                <c:pt idx="127" formatCode="0">
                  <c:v>5377.8378171038275</c:v>
                </c:pt>
                <c:pt idx="128" formatCode="0">
                  <c:v>5224.2327045402235</c:v>
                </c:pt>
                <c:pt idx="129" formatCode="0">
                  <c:v>5073.8695937838575</c:v>
                </c:pt>
                <c:pt idx="130" formatCode="0">
                  <c:v>4927.1700433584319</c:v>
                </c:pt>
                <c:pt idx="131" formatCode="0">
                  <c:v>4784.3971464123206</c:v>
                </c:pt>
                <c:pt idx="132" formatCode="0">
                  <c:v>4645.654113291871</c:v>
                </c:pt>
                <c:pt idx="133" formatCode="0">
                  <c:v>4510.9269497820096</c:v>
                </c:pt>
                <c:pt idx="134" formatCode="0">
                  <c:v>4379.8016686046712</c:v>
                </c:pt>
                <c:pt idx="135" formatCode="0">
                  <c:v>4251.8458825625275</c:v>
                </c:pt>
                <c:pt idx="136" formatCode="0">
                  <c:v>4126.4741451235459</c:v>
                </c:pt>
                <c:pt idx="137" formatCode="0">
                  <c:v>4003.3777452064687</c:v>
                </c:pt>
                <c:pt idx="138" formatCode="0">
                  <c:v>3882.9411557437784</c:v>
                </c:pt>
                <c:pt idx="139" formatCode="0">
                  <c:v>3765.4889914775163</c:v>
                </c:pt>
                <c:pt idx="140" formatCode="0">
                  <c:v>3650.584156829746</c:v>
                </c:pt>
                <c:pt idx="141" formatCode="0">
                  <c:v>3538.0488781063041</c:v>
                </c:pt>
                <c:pt idx="142" formatCode="0">
                  <c:v>3427.7511137796259</c:v>
                </c:pt>
                <c:pt idx="143" formatCode="0">
                  <c:v>3319.4522432650147</c:v>
                </c:pt>
                <c:pt idx="144" formatCode="0">
                  <c:v>3213.115343996697</c:v>
                </c:pt>
                <c:pt idx="145" formatCode="0">
                  <c:v>3109.2700126354443</c:v>
                </c:pt>
                <c:pt idx="146" formatCode="0">
                  <c:v>3008.2518185934432</c:v>
                </c:pt>
                <c:pt idx="147" formatCode="0">
                  <c:v>2909.6364604117739</c:v>
                </c:pt>
                <c:pt idx="148" formatCode="0">
                  <c:v>2813.2340318273496</c:v>
                </c:pt>
                <c:pt idx="149" formatCode="0">
                  <c:v>2718.8503623031629</c:v>
                </c:pt>
                <c:pt idx="150" formatCode="0">
                  <c:v>2626.2924142620263</c:v>
                </c:pt>
                <c:pt idx="151" formatCode="0">
                  <c:v>2535.5658876248117</c:v>
                </c:pt>
                <c:pt idx="152" formatCode="0">
                  <c:v>2447.2086038335174</c:v>
                </c:pt>
                <c:pt idx="153" formatCode="0">
                  <c:v>2361.523905795304</c:v>
                </c:pt>
                <c:pt idx="154" formatCode="0">
                  <c:v>2278.1125277959641</c:v>
                </c:pt>
                <c:pt idx="155" formatCode="0">
                  <c:v>2196.7760503662507</c:v>
                </c:pt>
                <c:pt idx="156" formatCode="0">
                  <c:v>2117.278035913464</c:v>
                </c:pt>
                <c:pt idx="157" formatCode="0">
                  <c:v>2039.4285715393758</c:v>
                </c:pt>
                <c:pt idx="158" formatCode="0">
                  <c:v>1963.2060068790429</c:v>
                </c:pt>
                <c:pt idx="159" formatCode="0">
                  <c:v>1889.171884979334</c:v>
                </c:pt>
                <c:pt idx="160" formatCode="0">
                  <c:v>1817.5998586170945</c:v>
                </c:pt>
                <c:pt idx="161" formatCode="0">
                  <c:v>1748.0228696286492</c:v>
                </c:pt>
                <c:pt idx="162" formatCode="0">
                  <c:v>1680.2206922800797</c:v>
                </c:pt>
                <c:pt idx="163" formatCode="0">
                  <c:v>1614.021199822344</c:v>
                </c:pt>
                <c:pt idx="164" formatCode="0">
                  <c:v>1549.2973272770466</c:v>
                </c:pt>
                <c:pt idx="165" formatCode="0">
                  <c:v>1486.0374151789879</c:v>
                </c:pt>
                <c:pt idx="166" formatCode="0">
                  <c:v>1424.7185194965139</c:v>
                </c:pt>
                <c:pt idx="167" formatCode="0">
                  <c:v>1365.608413785985</c:v>
                </c:pt>
                <c:pt idx="168" formatCode="0">
                  <c:v>1308.4117301870797</c:v>
                </c:pt>
                <c:pt idx="169" formatCode="0">
                  <c:v>1252.5899823568957</c:v>
                </c:pt>
                <c:pt idx="170" formatCode="0">
                  <c:v>1197.8974216388406</c:v>
                </c:pt>
                <c:pt idx="171" formatCode="0">
                  <c:v>1144.2487941181141</c:v>
                </c:pt>
                <c:pt idx="172" formatCode="0">
                  <c:v>1091.6450358968598</c:v>
                </c:pt>
                <c:pt idx="173" formatCode="0">
                  <c:v>1040.1311775589443</c:v>
                </c:pt>
                <c:pt idx="174" formatCode="0">
                  <c:v>989.77235147505246</c:v>
                </c:pt>
                <c:pt idx="175" formatCode="0">
                  <c:v>940.6400914282508</c:v>
                </c:pt>
                <c:pt idx="176" formatCode="0">
                  <c:v>892.80455372097185</c:v>
                </c:pt>
                <c:pt idx="177" formatCode="0">
                  <c:v>846.34854865773536</c:v>
                </c:pt>
                <c:pt idx="178" formatCode="0">
                  <c:v>801.33579349642764</c:v>
                </c:pt>
                <c:pt idx="179" formatCode="0">
                  <c:v>757.81442830441028</c:v>
                </c:pt>
                <c:pt idx="180" formatCode="0">
                  <c:v>715.81956847021604</c:v>
                </c:pt>
                <c:pt idx="181" formatCode="0">
                  <c:v>675.47941242024444</c:v>
                </c:pt>
                <c:pt idx="182" formatCode="0">
                  <c:v>636.98616616483378</c:v>
                </c:pt>
                <c:pt idx="183" formatCode="0">
                  <c:v>600.40191528663047</c:v>
                </c:pt>
                <c:pt idx="184" formatCode="0">
                  <c:v>565.71323374620931</c:v>
                </c:pt>
                <c:pt idx="185" formatCode="0">
                  <c:v>532.86482160896037</c:v>
                </c:pt>
                <c:pt idx="186" formatCode="0">
                  <c:v>501.85946636295233</c:v>
                </c:pt>
                <c:pt idx="187" formatCode="0">
                  <c:v>472.64125458781143</c:v>
                </c:pt>
                <c:pt idx="188" formatCode="0">
                  <c:v>445.20721590453269</c:v>
                </c:pt>
                <c:pt idx="189" formatCode="0">
                  <c:v>419.4913047961108</c:v>
                </c:pt>
                <c:pt idx="190" formatCode="0">
                  <c:v>395.26828973992599</c:v>
                </c:pt>
                <c:pt idx="191" formatCode="0">
                  <c:v>372.38041822007278</c:v>
                </c:pt>
                <c:pt idx="192" formatCode="0">
                  <c:v>350.70985337060193</c:v>
                </c:pt>
                <c:pt idx="193" formatCode="0">
                  <c:v>330.16376066431854</c:v>
                </c:pt>
                <c:pt idx="194" formatCode="0">
                  <c:v>310.66600613182362</c:v>
                </c:pt>
                <c:pt idx="195" formatCode="0">
                  <c:v>292.15232325051221</c:v>
                </c:pt>
                <c:pt idx="196" formatCode="0">
                  <c:v>274.56732093555945</c:v>
                </c:pt>
                <c:pt idx="197" formatCode="0">
                  <c:v>257.86249348305995</c:v>
                </c:pt>
                <c:pt idx="198" formatCode="0">
                  <c:v>241.99480061816547</c:v>
                </c:pt>
                <c:pt idx="199" formatCode="0">
                  <c:v>226.92559442857453</c:v>
                </c:pt>
                <c:pt idx="200" formatCode="0">
                  <c:v>212.61977580780766</c:v>
                </c:pt>
                <c:pt idx="201" formatCode="0">
                  <c:v>199.0451162253546</c:v>
                </c:pt>
                <c:pt idx="202" formatCode="0">
                  <c:v>186.17170720137278</c:v>
                </c:pt>
                <c:pt idx="203" formatCode="0">
                  <c:v>173.97151316566197</c:v>
                </c:pt>
                <c:pt idx="204" formatCode="0">
                  <c:v>162.41801020874794</c:v>
                </c:pt>
                <c:pt idx="205" formatCode="0">
                  <c:v>151.48589696917608</c:v>
                </c:pt>
                <c:pt idx="206" formatCode="0">
                  <c:v>141.15086619191931</c:v>
                </c:pt>
                <c:pt idx="207" formatCode="0">
                  <c:v>131.38942711376927</c:v>
                </c:pt>
                <c:pt idx="208" formatCode="0">
                  <c:v>122.17877013174018</c:v>
                </c:pt>
                <c:pt idx="209" formatCode="0">
                  <c:v>113.4966663368248</c:v>
                </c:pt>
                <c:pt idx="210" formatCode="0">
                  <c:v>105.32139550399076</c:v>
                </c:pt>
                <c:pt idx="211" formatCode="0">
                  <c:v>97.631697038649108</c:v>
                </c:pt>
                <c:pt idx="212" formatCode="0">
                  <c:v>90.406739195401343</c:v>
                </c:pt>
                <c:pt idx="213" formatCode="0">
                  <c:v>83.626102609277282</c:v>
                </c:pt>
                <c:pt idx="214" formatCode="0">
                  <c:v>77.269774816417666</c:v>
                </c:pt>
                <c:pt idx="215" formatCode="0">
                  <c:v>71.3181529954226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0BF-4865-80F1-EB367B454D3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88" formatCode="0">
                  <c:v>12384.817441099038</c:v>
                </c:pt>
                <c:pt idx="89" formatCode="0">
                  <c:v>12382.300839481471</c:v>
                </c:pt>
                <c:pt idx="90" formatCode="0">
                  <c:v>12306.025564485491</c:v>
                </c:pt>
                <c:pt idx="91" formatCode="0">
                  <c:v>12189.368745397778</c:v>
                </c:pt>
                <c:pt idx="92" formatCode="0">
                  <c:v>12048.867966689984</c:v>
                </c:pt>
                <c:pt idx="93" formatCode="0">
                  <c:v>11892.934675110129</c:v>
                </c:pt>
                <c:pt idx="94" formatCode="0">
                  <c:v>11725.834216673125</c:v>
                </c:pt>
                <c:pt idx="95" formatCode="0">
                  <c:v>11550.208209364881</c:v>
                </c:pt>
                <c:pt idx="96" formatCode="0">
                  <c:v>11368.638700943482</c:v>
                </c:pt>
                <c:pt idx="97" formatCode="0">
                  <c:v>11182.822926599361</c:v>
                </c:pt>
                <c:pt idx="98" formatCode="0">
                  <c:v>10992.859014488589</c:v>
                </c:pt>
                <c:pt idx="99" formatCode="0">
                  <c:v>10798.636600479667</c:v>
                </c:pt>
                <c:pt idx="100" formatCode="0">
                  <c:v>10600.269885453818</c:v>
                </c:pt>
                <c:pt idx="101" formatCode="0">
                  <c:v>10398.053951750688</c:v>
                </c:pt>
                <c:pt idx="102" formatCode="0">
                  <c:v>10192.745118692863</c:v>
                </c:pt>
                <c:pt idx="103" formatCode="0">
                  <c:v>9985.9770814224175</c:v>
                </c:pt>
                <c:pt idx="104" formatCode="0">
                  <c:v>9778.8622091860725</c:v>
                </c:pt>
                <c:pt idx="105" formatCode="0">
                  <c:v>9571.2003572318972</c:v>
                </c:pt>
                <c:pt idx="106" formatCode="0">
                  <c:v>9362.7649206321112</c:v>
                </c:pt>
                <c:pt idx="107" formatCode="0">
                  <c:v>9153.44117242436</c:v>
                </c:pt>
                <c:pt idx="108" formatCode="0">
                  <c:v>8943.2337378033681</c:v>
                </c:pt>
                <c:pt idx="109" formatCode="0">
                  <c:v>8732.6825829176378</c:v>
                </c:pt>
                <c:pt idx="110" formatCode="0">
                  <c:v>8523.3015476276541</c:v>
                </c:pt>
                <c:pt idx="111" formatCode="0">
                  <c:v>8316.2290584879775</c:v>
                </c:pt>
                <c:pt idx="112" formatCode="0">
                  <c:v>8111.4045814208403</c:v>
                </c:pt>
                <c:pt idx="113" formatCode="0">
                  <c:v>7908.4062434649368</c:v>
                </c:pt>
                <c:pt idx="114" formatCode="0">
                  <c:v>7707.1973917901341</c:v>
                </c:pt>
                <c:pt idx="115" formatCode="0">
                  <c:v>7507.8580993192882</c:v>
                </c:pt>
                <c:pt idx="116" formatCode="0">
                  <c:v>7310.6559170828687</c:v>
                </c:pt>
                <c:pt idx="117" formatCode="0">
                  <c:v>7116.5812098119522</c:v>
                </c:pt>
                <c:pt idx="118" formatCode="0">
                  <c:v>6926.4590901663696</c:v>
                </c:pt>
                <c:pt idx="119" formatCode="0">
                  <c:v>6740.0615830623565</c:v>
                </c:pt>
                <c:pt idx="120" formatCode="0">
                  <c:v>6557.1801187744095</c:v>
                </c:pt>
                <c:pt idx="121" formatCode="0">
                  <c:v>6377.6959993214505</c:v>
                </c:pt>
                <c:pt idx="122" formatCode="0">
                  <c:v>6201.5713008112043</c:v>
                </c:pt>
                <c:pt idx="123" formatCode="0">
                  <c:v>6028.8239511616448</c:v>
                </c:pt>
                <c:pt idx="124" formatCode="0">
                  <c:v>5860.0111856359517</c:v>
                </c:pt>
                <c:pt idx="125" formatCode="0">
                  <c:v>5695.458952014641</c:v>
                </c:pt>
                <c:pt idx="126" formatCode="0">
                  <c:v>5534.8574913914008</c:v>
                </c:pt>
                <c:pt idx="127" formatCode="0">
                  <c:v>5377.8378171038275</c:v>
                </c:pt>
                <c:pt idx="128" formatCode="0">
                  <c:v>5224.2327045402235</c:v>
                </c:pt>
                <c:pt idx="129" formatCode="0">
                  <c:v>5073.8695937838575</c:v>
                </c:pt>
                <c:pt idx="130" formatCode="0">
                  <c:v>4927.1700433584319</c:v>
                </c:pt>
                <c:pt idx="131" formatCode="0">
                  <c:v>4784.3971464123206</c:v>
                </c:pt>
                <c:pt idx="132" formatCode="0">
                  <c:v>4645.654113291871</c:v>
                </c:pt>
                <c:pt idx="133" formatCode="0">
                  <c:v>4510.9269497820096</c:v>
                </c:pt>
                <c:pt idx="134" formatCode="0">
                  <c:v>4379.8016686046712</c:v>
                </c:pt>
                <c:pt idx="135" formatCode="0">
                  <c:v>4251.8458825625275</c:v>
                </c:pt>
                <c:pt idx="136" formatCode="0">
                  <c:v>4126.4741451235459</c:v>
                </c:pt>
                <c:pt idx="137" formatCode="0">
                  <c:v>4003.3777452064687</c:v>
                </c:pt>
                <c:pt idx="138" formatCode="0">
                  <c:v>3882.9411557437784</c:v>
                </c:pt>
                <c:pt idx="139" formatCode="0">
                  <c:v>3765.4889914775163</c:v>
                </c:pt>
                <c:pt idx="140" formatCode="0">
                  <c:v>3650.584156829746</c:v>
                </c:pt>
                <c:pt idx="141" formatCode="0">
                  <c:v>3538.0488781063041</c:v>
                </c:pt>
                <c:pt idx="142" formatCode="0">
                  <c:v>3427.7511137796259</c:v>
                </c:pt>
                <c:pt idx="143" formatCode="0">
                  <c:v>3319.4522432650147</c:v>
                </c:pt>
                <c:pt idx="144" formatCode="0">
                  <c:v>3213.115343996697</c:v>
                </c:pt>
                <c:pt idx="145" formatCode="0">
                  <c:v>3109.2700126354443</c:v>
                </c:pt>
                <c:pt idx="146" formatCode="0">
                  <c:v>3008.2518185934432</c:v>
                </c:pt>
                <c:pt idx="147" formatCode="0">
                  <c:v>2909.6364604117739</c:v>
                </c:pt>
                <c:pt idx="148" formatCode="0">
                  <c:v>2813.2340318273496</c:v>
                </c:pt>
                <c:pt idx="149" formatCode="0">
                  <c:v>2718.8503623031629</c:v>
                </c:pt>
                <c:pt idx="150" formatCode="0">
                  <c:v>2626.2924142620263</c:v>
                </c:pt>
                <c:pt idx="151" formatCode="0">
                  <c:v>2535.5658876248117</c:v>
                </c:pt>
                <c:pt idx="152" formatCode="0">
                  <c:v>2447.2086038335174</c:v>
                </c:pt>
                <c:pt idx="153" formatCode="0">
                  <c:v>2361.523905795304</c:v>
                </c:pt>
                <c:pt idx="154" formatCode="0">
                  <c:v>2278.1125277959641</c:v>
                </c:pt>
                <c:pt idx="155" formatCode="0">
                  <c:v>2196.7760503662507</c:v>
                </c:pt>
                <c:pt idx="156" formatCode="0">
                  <c:v>2117.278035913464</c:v>
                </c:pt>
                <c:pt idx="157" formatCode="0">
                  <c:v>2039.4285715393758</c:v>
                </c:pt>
                <c:pt idx="158" formatCode="0">
                  <c:v>1963.2060068790429</c:v>
                </c:pt>
                <c:pt idx="159" formatCode="0">
                  <c:v>1889.171884979334</c:v>
                </c:pt>
                <c:pt idx="160" formatCode="0">
                  <c:v>1817.5998586170945</c:v>
                </c:pt>
                <c:pt idx="161" formatCode="0">
                  <c:v>1748.0228696286492</c:v>
                </c:pt>
                <c:pt idx="162" formatCode="0">
                  <c:v>1680.2206922800797</c:v>
                </c:pt>
                <c:pt idx="163" formatCode="0">
                  <c:v>1614.021199822344</c:v>
                </c:pt>
                <c:pt idx="164" formatCode="0">
                  <c:v>1549.2973272770466</c:v>
                </c:pt>
                <c:pt idx="165" formatCode="0">
                  <c:v>1486.0374151789879</c:v>
                </c:pt>
                <c:pt idx="166" formatCode="0">
                  <c:v>1424.7185194965139</c:v>
                </c:pt>
                <c:pt idx="167" formatCode="0">
                  <c:v>1365.608413785985</c:v>
                </c:pt>
                <c:pt idx="168" formatCode="0">
                  <c:v>1338.2352033373941</c:v>
                </c:pt>
                <c:pt idx="169" formatCode="0">
                  <c:v>1325.4753405726274</c:v>
                </c:pt>
                <c:pt idx="170" formatCode="0">
                  <c:v>1319.1613540032301</c:v>
                </c:pt>
                <c:pt idx="171" formatCode="0">
                  <c:v>1315.3704428948847</c:v>
                </c:pt>
                <c:pt idx="172" formatCode="0">
                  <c:v>1312.1984593890695</c:v>
                </c:pt>
                <c:pt idx="173" formatCode="0">
                  <c:v>1308.7063453017815</c:v>
                </c:pt>
                <c:pt idx="174" formatCode="0">
                  <c:v>1304.4206336818625</c:v>
                </c:pt>
                <c:pt idx="175" formatCode="0">
                  <c:v>1322.5785629927936</c:v>
                </c:pt>
                <c:pt idx="176" formatCode="0">
                  <c:v>1350.9355906650044</c:v>
                </c:pt>
                <c:pt idx="177" formatCode="0">
                  <c:v>1383.9321341772529</c:v>
                </c:pt>
                <c:pt idx="178" formatCode="0">
                  <c:v>1418.9625786497843</c:v>
                </c:pt>
                <c:pt idx="179" formatCode="0">
                  <c:v>1454.7453747329726</c:v>
                </c:pt>
                <c:pt idx="180" formatCode="0">
                  <c:v>1490.5961897466966</c:v>
                </c:pt>
                <c:pt idx="181" formatCode="0">
                  <c:v>1526.4627505762526</c:v>
                </c:pt>
                <c:pt idx="182" formatCode="0">
                  <c:v>1562.6744064436593</c:v>
                </c:pt>
                <c:pt idx="183" formatCode="0">
                  <c:v>1599.3383104468153</c:v>
                </c:pt>
                <c:pt idx="184" formatCode="0">
                  <c:v>1636.4267390496225</c:v>
                </c:pt>
                <c:pt idx="185" formatCode="0">
                  <c:v>1673.8334199947876</c:v>
                </c:pt>
                <c:pt idx="186" formatCode="0">
                  <c:v>1711.9323161840794</c:v>
                </c:pt>
                <c:pt idx="187" formatCode="0">
                  <c:v>1750.8369873460992</c:v>
                </c:pt>
                <c:pt idx="188" formatCode="0">
                  <c:v>1791.154581551951</c:v>
                </c:pt>
                <c:pt idx="189" formatCode="0">
                  <c:v>1833.1345875377256</c:v>
                </c:pt>
                <c:pt idx="190" formatCode="0">
                  <c:v>1875.7382873829813</c:v>
                </c:pt>
                <c:pt idx="191" formatCode="0">
                  <c:v>1918.3332065470599</c:v>
                </c:pt>
                <c:pt idx="192" formatCode="0">
                  <c:v>1960.4686226147267</c:v>
                </c:pt>
                <c:pt idx="193" formatCode="0">
                  <c:v>2001.7782742665215</c:v>
                </c:pt>
                <c:pt idx="194" formatCode="0">
                  <c:v>2041.9391907863828</c:v>
                </c:pt>
                <c:pt idx="195" formatCode="0">
                  <c:v>2080.6549216245389</c:v>
                </c:pt>
                <c:pt idx="196" formatCode="0">
                  <c:v>2117.6491427003216</c:v>
                </c:pt>
                <c:pt idx="197" formatCode="0">
                  <c:v>2152.6635322467014</c:v>
                </c:pt>
                <c:pt idx="198" formatCode="0">
                  <c:v>2185.4573177647098</c:v>
                </c:pt>
                <c:pt idx="199" formatCode="0">
                  <c:v>2215.8074274090995</c:v>
                </c:pt>
                <c:pt idx="200" formatCode="0">
                  <c:v>2243.5088313099341</c:v>
                </c:pt>
                <c:pt idx="201" formatCode="0">
                  <c:v>2268.3749246473244</c:v>
                </c:pt>
                <c:pt idx="202" formatCode="0">
                  <c:v>2290.2379052668707</c:v>
                </c:pt>
                <c:pt idx="203" formatCode="0">
                  <c:v>2308.9491315613668</c:v>
                </c:pt>
                <c:pt idx="204" formatCode="0">
                  <c:v>2324.3794533133719</c:v>
                </c:pt>
                <c:pt idx="205" formatCode="0">
                  <c:v>2336.4195067471446</c:v>
                </c:pt>
                <c:pt idx="206" formatCode="0">
                  <c:v>2344.9799620495342</c:v>
                </c:pt>
                <c:pt idx="207" formatCode="0">
                  <c:v>2349.9917094429375</c:v>
                </c:pt>
                <c:pt idx="208" formatCode="0">
                  <c:v>2351.4059690739355</c:v>
                </c:pt>
                <c:pt idx="209" formatCode="0">
                  <c:v>2349.1943104089009</c:v>
                </c:pt>
                <c:pt idx="210" formatCode="0">
                  <c:v>2343.3485682116398</c:v>
                </c:pt>
                <c:pt idx="211" formatCode="0">
                  <c:v>2333.8806442227833</c:v>
                </c:pt>
                <c:pt idx="212" formatCode="0">
                  <c:v>2320.8221861207526</c:v>
                </c:pt>
                <c:pt idx="213" formatCode="0">
                  <c:v>2304.2241380315122</c:v>
                </c:pt>
                <c:pt idx="214" formatCode="0">
                  <c:v>2284.1561596291099</c:v>
                </c:pt>
                <c:pt idx="215" formatCode="0">
                  <c:v>2260.705913628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0BF-4865-80F1-EB367B454D3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0BF-4865-80F1-EB367B454D3B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0BF-4865-80F1-EB367B454D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4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286</c:v>
                </c:pt>
                <c:pt idx="1">
                  <c:v>179</c:v>
                </c:pt>
                <c:pt idx="2">
                  <c:v>220</c:v>
                </c:pt>
                <c:pt idx="3">
                  <c:v>293</c:v>
                </c:pt>
                <c:pt idx="4">
                  <c:v>118</c:v>
                </c:pt>
                <c:pt idx="5">
                  <c:v>48</c:v>
                </c:pt>
                <c:pt idx="6">
                  <c:v>238</c:v>
                </c:pt>
                <c:pt idx="7">
                  <c:v>344</c:v>
                </c:pt>
                <c:pt idx="8">
                  <c:v>354</c:v>
                </c:pt>
                <c:pt idx="9">
                  <c:v>426</c:v>
                </c:pt>
                <c:pt idx="10">
                  <c:v>396</c:v>
                </c:pt>
                <c:pt idx="11">
                  <c:v>130</c:v>
                </c:pt>
                <c:pt idx="12">
                  <c:v>85</c:v>
                </c:pt>
                <c:pt idx="13">
                  <c:v>288</c:v>
                </c:pt>
                <c:pt idx="14">
                  <c:v>414</c:v>
                </c:pt>
                <c:pt idx="15">
                  <c:v>484</c:v>
                </c:pt>
                <c:pt idx="16">
                  <c:v>403</c:v>
                </c:pt>
                <c:pt idx="17">
                  <c:v>439</c:v>
                </c:pt>
                <c:pt idx="18">
                  <c:v>260</c:v>
                </c:pt>
                <c:pt idx="19">
                  <c:v>135</c:v>
                </c:pt>
                <c:pt idx="20">
                  <c:v>373</c:v>
                </c:pt>
                <c:pt idx="21">
                  <c:v>559</c:v>
                </c:pt>
                <c:pt idx="22">
                  <c:v>692</c:v>
                </c:pt>
                <c:pt idx="23">
                  <c:v>214</c:v>
                </c:pt>
                <c:pt idx="24">
                  <c:v>67</c:v>
                </c:pt>
                <c:pt idx="25">
                  <c:v>157</c:v>
                </c:pt>
                <c:pt idx="26">
                  <c:v>233</c:v>
                </c:pt>
                <c:pt idx="27">
                  <c:v>622</c:v>
                </c:pt>
                <c:pt idx="28">
                  <c:v>859</c:v>
                </c:pt>
                <c:pt idx="29">
                  <c:v>891</c:v>
                </c:pt>
                <c:pt idx="30">
                  <c:v>813</c:v>
                </c:pt>
                <c:pt idx="31">
                  <c:v>134</c:v>
                </c:pt>
                <c:pt idx="32">
                  <c:v>266</c:v>
                </c:pt>
                <c:pt idx="33">
                  <c:v>441</c:v>
                </c:pt>
                <c:pt idx="34">
                  <c:v>877</c:v>
                </c:pt>
                <c:pt idx="35">
                  <c:v>944</c:v>
                </c:pt>
                <c:pt idx="36">
                  <c:v>1120</c:v>
                </c:pt>
                <c:pt idx="37">
                  <c:v>745</c:v>
                </c:pt>
                <c:pt idx="38">
                  <c:v>718</c:v>
                </c:pt>
                <c:pt idx="39">
                  <c:v>437</c:v>
                </c:pt>
                <c:pt idx="40">
                  <c:v>272</c:v>
                </c:pt>
                <c:pt idx="41">
                  <c:v>675</c:v>
                </c:pt>
                <c:pt idx="42">
                  <c:v>560</c:v>
                </c:pt>
                <c:pt idx="43">
                  <c:v>647</c:v>
                </c:pt>
                <c:pt idx="44">
                  <c:v>525</c:v>
                </c:pt>
                <c:pt idx="45">
                  <c:v>580</c:v>
                </c:pt>
                <c:pt idx="46">
                  <c:v>246</c:v>
                </c:pt>
                <c:pt idx="47">
                  <c:v>150</c:v>
                </c:pt>
                <c:pt idx="48">
                  <c:v>456</c:v>
                </c:pt>
                <c:pt idx="49">
                  <c:v>510</c:v>
                </c:pt>
                <c:pt idx="50">
                  <c:v>604</c:v>
                </c:pt>
                <c:pt idx="51">
                  <c:v>395</c:v>
                </c:pt>
                <c:pt idx="52">
                  <c:v>492</c:v>
                </c:pt>
                <c:pt idx="53">
                  <c:v>158</c:v>
                </c:pt>
                <c:pt idx="54">
                  <c:v>89</c:v>
                </c:pt>
                <c:pt idx="55">
                  <c:v>445</c:v>
                </c:pt>
                <c:pt idx="56">
                  <c:v>626</c:v>
                </c:pt>
                <c:pt idx="57">
                  <c:v>449</c:v>
                </c:pt>
                <c:pt idx="58">
                  <c:v>450</c:v>
                </c:pt>
                <c:pt idx="59">
                  <c:v>467</c:v>
                </c:pt>
                <c:pt idx="60">
                  <c:v>285</c:v>
                </c:pt>
                <c:pt idx="61">
                  <c:v>99</c:v>
                </c:pt>
                <c:pt idx="62">
                  <c:v>508</c:v>
                </c:pt>
                <c:pt idx="63">
                  <c:v>590</c:v>
                </c:pt>
                <c:pt idx="64">
                  <c:v>610</c:v>
                </c:pt>
                <c:pt idx="65">
                  <c:v>415</c:v>
                </c:pt>
                <c:pt idx="66">
                  <c:v>494</c:v>
                </c:pt>
                <c:pt idx="67">
                  <c:v>307</c:v>
                </c:pt>
                <c:pt idx="68">
                  <c:v>134</c:v>
                </c:pt>
                <c:pt idx="69">
                  <c:v>616</c:v>
                </c:pt>
                <c:pt idx="70">
                  <c:v>650</c:v>
                </c:pt>
                <c:pt idx="71">
                  <c:v>627</c:v>
                </c:pt>
                <c:pt idx="72">
                  <c:v>554</c:v>
                </c:pt>
                <c:pt idx="73">
                  <c:v>597</c:v>
                </c:pt>
                <c:pt idx="74">
                  <c:v>331</c:v>
                </c:pt>
                <c:pt idx="75">
                  <c:v>232</c:v>
                </c:pt>
                <c:pt idx="76">
                  <c:v>699</c:v>
                </c:pt>
                <c:pt idx="77">
                  <c:v>766</c:v>
                </c:pt>
                <c:pt idx="78">
                  <c:v>700</c:v>
                </c:pt>
                <c:pt idx="79">
                  <c:v>785</c:v>
                </c:pt>
                <c:pt idx="80">
                  <c:v>815</c:v>
                </c:pt>
                <c:pt idx="81">
                  <c:v>345</c:v>
                </c:pt>
                <c:pt idx="82">
                  <c:v>222</c:v>
                </c:pt>
                <c:pt idx="83">
                  <c:v>803</c:v>
                </c:pt>
                <c:pt idx="84">
                  <c:v>1054</c:v>
                </c:pt>
                <c:pt idx="85">
                  <c:v>1005</c:v>
                </c:pt>
                <c:pt idx="86">
                  <c:v>925</c:v>
                </c:pt>
                <c:pt idx="87">
                  <c:v>866</c:v>
                </c:pt>
                <c:pt idx="88">
                  <c:v>286</c:v>
                </c:pt>
                <c:pt idx="89">
                  <c:v>307</c:v>
                </c:pt>
                <c:pt idx="90">
                  <c:v>878</c:v>
                </c:pt>
                <c:pt idx="91">
                  <c:v>1056</c:v>
                </c:pt>
                <c:pt idx="92">
                  <c:v>1023</c:v>
                </c:pt>
                <c:pt idx="93">
                  <c:v>875</c:v>
                </c:pt>
                <c:pt idx="94">
                  <c:v>755</c:v>
                </c:pt>
                <c:pt idx="95">
                  <c:v>493</c:v>
                </c:pt>
                <c:pt idx="96">
                  <c:v>190</c:v>
                </c:pt>
                <c:pt idx="97">
                  <c:v>799</c:v>
                </c:pt>
                <c:pt idx="98">
                  <c:v>925</c:v>
                </c:pt>
                <c:pt idx="99">
                  <c:v>800</c:v>
                </c:pt>
                <c:pt idx="100">
                  <c:v>665</c:v>
                </c:pt>
                <c:pt idx="101">
                  <c:v>1145</c:v>
                </c:pt>
                <c:pt idx="102">
                  <c:v>302</c:v>
                </c:pt>
                <c:pt idx="103">
                  <c:v>184</c:v>
                </c:pt>
                <c:pt idx="104">
                  <c:v>779</c:v>
                </c:pt>
                <c:pt idx="105">
                  <c:v>825</c:v>
                </c:pt>
                <c:pt idx="106">
                  <c:v>704</c:v>
                </c:pt>
                <c:pt idx="107">
                  <c:v>574</c:v>
                </c:pt>
                <c:pt idx="108">
                  <c:v>601</c:v>
                </c:pt>
                <c:pt idx="109">
                  <c:v>237</c:v>
                </c:pt>
                <c:pt idx="110">
                  <c:v>145</c:v>
                </c:pt>
                <c:pt idx="111">
                  <c:v>541</c:v>
                </c:pt>
                <c:pt idx="112">
                  <c:v>712</c:v>
                </c:pt>
                <c:pt idx="113">
                  <c:v>472</c:v>
                </c:pt>
                <c:pt idx="114">
                  <c:v>505</c:v>
                </c:pt>
                <c:pt idx="115">
                  <c:v>442</c:v>
                </c:pt>
                <c:pt idx="116">
                  <c:v>134</c:v>
                </c:pt>
                <c:pt idx="117">
                  <c:v>57</c:v>
                </c:pt>
                <c:pt idx="118">
                  <c:v>414</c:v>
                </c:pt>
                <c:pt idx="119">
                  <c:v>539</c:v>
                </c:pt>
                <c:pt idx="120">
                  <c:v>417</c:v>
                </c:pt>
                <c:pt idx="121">
                  <c:v>435</c:v>
                </c:pt>
                <c:pt idx="122">
                  <c:v>223</c:v>
                </c:pt>
                <c:pt idx="123">
                  <c:v>137</c:v>
                </c:pt>
                <c:pt idx="124">
                  <c:v>77</c:v>
                </c:pt>
                <c:pt idx="125">
                  <c:v>89</c:v>
                </c:pt>
                <c:pt idx="126">
                  <c:v>427</c:v>
                </c:pt>
                <c:pt idx="127">
                  <c:v>451</c:v>
                </c:pt>
                <c:pt idx="128">
                  <c:v>265</c:v>
                </c:pt>
                <c:pt idx="129">
                  <c:v>323</c:v>
                </c:pt>
                <c:pt idx="130">
                  <c:v>74</c:v>
                </c:pt>
                <c:pt idx="131">
                  <c:v>38</c:v>
                </c:pt>
                <c:pt idx="132">
                  <c:v>218</c:v>
                </c:pt>
                <c:pt idx="133">
                  <c:v>359</c:v>
                </c:pt>
                <c:pt idx="134">
                  <c:v>178</c:v>
                </c:pt>
                <c:pt idx="135">
                  <c:v>168</c:v>
                </c:pt>
                <c:pt idx="136">
                  <c:v>170</c:v>
                </c:pt>
                <c:pt idx="137">
                  <c:v>76</c:v>
                </c:pt>
                <c:pt idx="138">
                  <c:v>36</c:v>
                </c:pt>
                <c:pt idx="139">
                  <c:v>195</c:v>
                </c:pt>
                <c:pt idx="140">
                  <c:v>180</c:v>
                </c:pt>
                <c:pt idx="141">
                  <c:v>172</c:v>
                </c:pt>
                <c:pt idx="142">
                  <c:v>97</c:v>
                </c:pt>
                <c:pt idx="143">
                  <c:v>135</c:v>
                </c:pt>
                <c:pt idx="144">
                  <c:v>31</c:v>
                </c:pt>
                <c:pt idx="145">
                  <c:v>27</c:v>
                </c:pt>
                <c:pt idx="146">
                  <c:v>150</c:v>
                </c:pt>
                <c:pt idx="147">
                  <c:v>121</c:v>
                </c:pt>
                <c:pt idx="148">
                  <c:v>79</c:v>
                </c:pt>
                <c:pt idx="149">
                  <c:v>88</c:v>
                </c:pt>
                <c:pt idx="150">
                  <c:v>79</c:v>
                </c:pt>
                <c:pt idx="151">
                  <c:v>19</c:v>
                </c:pt>
                <c:pt idx="152">
                  <c:v>17</c:v>
                </c:pt>
                <c:pt idx="153">
                  <c:v>138</c:v>
                </c:pt>
                <c:pt idx="154">
                  <c:v>67</c:v>
                </c:pt>
                <c:pt idx="155">
                  <c:v>91</c:v>
                </c:pt>
                <c:pt idx="156">
                  <c:v>49</c:v>
                </c:pt>
                <c:pt idx="157">
                  <c:v>52</c:v>
                </c:pt>
                <c:pt idx="158">
                  <c:v>19</c:v>
                </c:pt>
                <c:pt idx="159">
                  <c:v>17</c:v>
                </c:pt>
                <c:pt idx="160">
                  <c:v>64</c:v>
                </c:pt>
                <c:pt idx="161">
                  <c:v>72</c:v>
                </c:pt>
                <c:pt idx="162">
                  <c:v>50</c:v>
                </c:pt>
                <c:pt idx="163">
                  <c:v>45</c:v>
                </c:pt>
                <c:pt idx="164">
                  <c:v>43</c:v>
                </c:pt>
                <c:pt idx="165">
                  <c:v>0</c:v>
                </c:pt>
                <c:pt idx="166">
                  <c:v>11</c:v>
                </c:pt>
                <c:pt idx="167">
                  <c:v>44</c:v>
                </c:pt>
                <c:pt idx="168">
                  <c:v>56</c:v>
                </c:pt>
                <c:pt idx="169">
                  <c:v>22</c:v>
                </c:pt>
                <c:pt idx="170">
                  <c:v>18</c:v>
                </c:pt>
                <c:pt idx="171">
                  <c:v>25</c:v>
                </c:pt>
                <c:pt idx="172">
                  <c:v>3</c:v>
                </c:pt>
                <c:pt idx="173">
                  <c:v>2</c:v>
                </c:pt>
                <c:pt idx="174">
                  <c:v>22</c:v>
                </c:pt>
                <c:pt idx="175">
                  <c:v>27</c:v>
                </c:pt>
                <c:pt idx="176">
                  <c:v>10</c:v>
                </c:pt>
                <c:pt idx="177">
                  <c:v>11</c:v>
                </c:pt>
                <c:pt idx="178">
                  <c:v>9</c:v>
                </c:pt>
                <c:pt idx="179">
                  <c:v>6</c:v>
                </c:pt>
                <c:pt idx="180">
                  <c:v>4</c:v>
                </c:pt>
                <c:pt idx="181">
                  <c:v>30</c:v>
                </c:pt>
                <c:pt idx="182">
                  <c:v>12</c:v>
                </c:pt>
                <c:pt idx="183">
                  <c:v>14</c:v>
                </c:pt>
                <c:pt idx="184">
                  <c:v>15</c:v>
                </c:pt>
                <c:pt idx="185">
                  <c:v>17</c:v>
                </c:pt>
                <c:pt idx="186">
                  <c:v>1</c:v>
                </c:pt>
                <c:pt idx="187">
                  <c:v>3</c:v>
                </c:pt>
                <c:pt idx="188">
                  <c:v>12</c:v>
                </c:pt>
                <c:pt idx="189">
                  <c:v>16</c:v>
                </c:pt>
                <c:pt idx="190">
                  <c:v>7</c:v>
                </c:pt>
                <c:pt idx="191">
                  <c:v>0</c:v>
                </c:pt>
                <c:pt idx="192">
                  <c:v>4</c:v>
                </c:pt>
                <c:pt idx="193">
                  <c:v>3</c:v>
                </c:pt>
                <c:pt idx="19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08B-4ECE-A3C2-CA9B056846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08B-4ECE-A3C2-CA9B056846D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246</c:v>
                </c:pt>
                <c:pt idx="122">
                  <c:v>240</c:v>
                </c:pt>
                <c:pt idx="123">
                  <c:v>233</c:v>
                </c:pt>
                <c:pt idx="124">
                  <c:v>226</c:v>
                </c:pt>
                <c:pt idx="125">
                  <c:v>220</c:v>
                </c:pt>
                <c:pt idx="126">
                  <c:v>214</c:v>
                </c:pt>
                <c:pt idx="127">
                  <c:v>208</c:v>
                </c:pt>
                <c:pt idx="128">
                  <c:v>202</c:v>
                </c:pt>
                <c:pt idx="129">
                  <c:v>196</c:v>
                </c:pt>
                <c:pt idx="130">
                  <c:v>190</c:v>
                </c:pt>
                <c:pt idx="131">
                  <c:v>185</c:v>
                </c:pt>
                <c:pt idx="132">
                  <c:v>179</c:v>
                </c:pt>
                <c:pt idx="133">
                  <c:v>174</c:v>
                </c:pt>
                <c:pt idx="134">
                  <c:v>169</c:v>
                </c:pt>
                <c:pt idx="135">
                  <c:v>164</c:v>
                </c:pt>
                <c:pt idx="136">
                  <c:v>159</c:v>
                </c:pt>
                <c:pt idx="137">
                  <c:v>155</c:v>
                </c:pt>
                <c:pt idx="138">
                  <c:v>150</c:v>
                </c:pt>
                <c:pt idx="139">
                  <c:v>145</c:v>
                </c:pt>
                <c:pt idx="140">
                  <c:v>141</c:v>
                </c:pt>
                <c:pt idx="141">
                  <c:v>137</c:v>
                </c:pt>
                <c:pt idx="142">
                  <c:v>132</c:v>
                </c:pt>
                <c:pt idx="143">
                  <c:v>128</c:v>
                </c:pt>
                <c:pt idx="144">
                  <c:v>124</c:v>
                </c:pt>
                <c:pt idx="145">
                  <c:v>120</c:v>
                </c:pt>
                <c:pt idx="146">
                  <c:v>116</c:v>
                </c:pt>
                <c:pt idx="147">
                  <c:v>112</c:v>
                </c:pt>
                <c:pt idx="148">
                  <c:v>109</c:v>
                </c:pt>
                <c:pt idx="149">
                  <c:v>105</c:v>
                </c:pt>
                <c:pt idx="150">
                  <c:v>101</c:v>
                </c:pt>
                <c:pt idx="151">
                  <c:v>98</c:v>
                </c:pt>
                <c:pt idx="152">
                  <c:v>95</c:v>
                </c:pt>
                <c:pt idx="153">
                  <c:v>91</c:v>
                </c:pt>
                <c:pt idx="154">
                  <c:v>88</c:v>
                </c:pt>
                <c:pt idx="155">
                  <c:v>85</c:v>
                </c:pt>
                <c:pt idx="156">
                  <c:v>82</c:v>
                </c:pt>
                <c:pt idx="157">
                  <c:v>79</c:v>
                </c:pt>
                <c:pt idx="158">
                  <c:v>76</c:v>
                </c:pt>
                <c:pt idx="159">
                  <c:v>73</c:v>
                </c:pt>
                <c:pt idx="160">
                  <c:v>70</c:v>
                </c:pt>
                <c:pt idx="161">
                  <c:v>68</c:v>
                </c:pt>
                <c:pt idx="162">
                  <c:v>65</c:v>
                </c:pt>
                <c:pt idx="163">
                  <c:v>62</c:v>
                </c:pt>
                <c:pt idx="164">
                  <c:v>60</c:v>
                </c:pt>
                <c:pt idx="165">
                  <c:v>57</c:v>
                </c:pt>
                <c:pt idx="166">
                  <c:v>55</c:v>
                </c:pt>
                <c:pt idx="167">
                  <c:v>53</c:v>
                </c:pt>
                <c:pt idx="168">
                  <c:v>51</c:v>
                </c:pt>
                <c:pt idx="169">
                  <c:v>48</c:v>
                </c:pt>
                <c:pt idx="170">
                  <c:v>46</c:v>
                </c:pt>
                <c:pt idx="171">
                  <c:v>44</c:v>
                </c:pt>
                <c:pt idx="172">
                  <c:v>42</c:v>
                </c:pt>
                <c:pt idx="173">
                  <c:v>40</c:v>
                </c:pt>
                <c:pt idx="174">
                  <c:v>38</c:v>
                </c:pt>
                <c:pt idx="175">
                  <c:v>36</c:v>
                </c:pt>
                <c:pt idx="176">
                  <c:v>34</c:v>
                </c:pt>
                <c:pt idx="177">
                  <c:v>33</c:v>
                </c:pt>
                <c:pt idx="178">
                  <c:v>31</c:v>
                </c:pt>
                <c:pt idx="179">
                  <c:v>29</c:v>
                </c:pt>
                <c:pt idx="180">
                  <c:v>28</c:v>
                </c:pt>
                <c:pt idx="181">
                  <c:v>26</c:v>
                </c:pt>
                <c:pt idx="182">
                  <c:v>25</c:v>
                </c:pt>
                <c:pt idx="183">
                  <c:v>23</c:v>
                </c:pt>
                <c:pt idx="184">
                  <c:v>22</c:v>
                </c:pt>
                <c:pt idx="185">
                  <c:v>21</c:v>
                </c:pt>
                <c:pt idx="186">
                  <c:v>19</c:v>
                </c:pt>
                <c:pt idx="187">
                  <c:v>18</c:v>
                </c:pt>
                <c:pt idx="188">
                  <c:v>17</c:v>
                </c:pt>
                <c:pt idx="189">
                  <c:v>16</c:v>
                </c:pt>
                <c:pt idx="190">
                  <c:v>15</c:v>
                </c:pt>
                <c:pt idx="191">
                  <c:v>14</c:v>
                </c:pt>
                <c:pt idx="192">
                  <c:v>14</c:v>
                </c:pt>
                <c:pt idx="193">
                  <c:v>13</c:v>
                </c:pt>
                <c:pt idx="194">
                  <c:v>12</c:v>
                </c:pt>
                <c:pt idx="195">
                  <c:v>11</c:v>
                </c:pt>
                <c:pt idx="196">
                  <c:v>11</c:v>
                </c:pt>
                <c:pt idx="197">
                  <c:v>10</c:v>
                </c:pt>
                <c:pt idx="198">
                  <c:v>9</c:v>
                </c:pt>
                <c:pt idx="199">
                  <c:v>9</c:v>
                </c:pt>
                <c:pt idx="200">
                  <c:v>8</c:v>
                </c:pt>
                <c:pt idx="201">
                  <c:v>8</c:v>
                </c:pt>
                <c:pt idx="202">
                  <c:v>7</c:v>
                </c:pt>
                <c:pt idx="203">
                  <c:v>7</c:v>
                </c:pt>
                <c:pt idx="204">
                  <c:v>6</c:v>
                </c:pt>
                <c:pt idx="205">
                  <c:v>6</c:v>
                </c:pt>
                <c:pt idx="206">
                  <c:v>5</c:v>
                </c:pt>
                <c:pt idx="207">
                  <c:v>5</c:v>
                </c:pt>
                <c:pt idx="208">
                  <c:v>5</c:v>
                </c:pt>
                <c:pt idx="209">
                  <c:v>4</c:v>
                </c:pt>
                <c:pt idx="210">
                  <c:v>4</c:v>
                </c:pt>
                <c:pt idx="211">
                  <c:v>4</c:v>
                </c:pt>
                <c:pt idx="212">
                  <c:v>3</c:v>
                </c:pt>
                <c:pt idx="213">
                  <c:v>3</c:v>
                </c:pt>
                <c:pt idx="214">
                  <c:v>3</c:v>
                </c:pt>
                <c:pt idx="215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08B-4ECE-A3C2-CA9B056846D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246</c:v>
                </c:pt>
                <c:pt idx="122">
                  <c:v>240</c:v>
                </c:pt>
                <c:pt idx="123">
                  <c:v>233</c:v>
                </c:pt>
                <c:pt idx="124">
                  <c:v>226</c:v>
                </c:pt>
                <c:pt idx="125">
                  <c:v>220</c:v>
                </c:pt>
                <c:pt idx="126">
                  <c:v>214</c:v>
                </c:pt>
                <c:pt idx="127">
                  <c:v>208</c:v>
                </c:pt>
                <c:pt idx="128">
                  <c:v>202</c:v>
                </c:pt>
                <c:pt idx="129">
                  <c:v>196</c:v>
                </c:pt>
                <c:pt idx="130">
                  <c:v>190</c:v>
                </c:pt>
                <c:pt idx="131">
                  <c:v>185</c:v>
                </c:pt>
                <c:pt idx="132">
                  <c:v>179</c:v>
                </c:pt>
                <c:pt idx="133">
                  <c:v>174</c:v>
                </c:pt>
                <c:pt idx="134">
                  <c:v>169</c:v>
                </c:pt>
                <c:pt idx="135">
                  <c:v>164</c:v>
                </c:pt>
                <c:pt idx="136">
                  <c:v>159</c:v>
                </c:pt>
                <c:pt idx="137">
                  <c:v>155</c:v>
                </c:pt>
                <c:pt idx="138">
                  <c:v>150</c:v>
                </c:pt>
                <c:pt idx="139">
                  <c:v>145</c:v>
                </c:pt>
                <c:pt idx="140">
                  <c:v>141</c:v>
                </c:pt>
                <c:pt idx="141">
                  <c:v>137</c:v>
                </c:pt>
                <c:pt idx="142">
                  <c:v>132</c:v>
                </c:pt>
                <c:pt idx="143">
                  <c:v>128</c:v>
                </c:pt>
                <c:pt idx="144">
                  <c:v>124</c:v>
                </c:pt>
                <c:pt idx="145">
                  <c:v>120</c:v>
                </c:pt>
                <c:pt idx="146">
                  <c:v>116</c:v>
                </c:pt>
                <c:pt idx="147">
                  <c:v>112</c:v>
                </c:pt>
                <c:pt idx="148">
                  <c:v>109</c:v>
                </c:pt>
                <c:pt idx="149">
                  <c:v>105</c:v>
                </c:pt>
                <c:pt idx="150">
                  <c:v>101</c:v>
                </c:pt>
                <c:pt idx="151">
                  <c:v>98</c:v>
                </c:pt>
                <c:pt idx="152">
                  <c:v>95</c:v>
                </c:pt>
                <c:pt idx="153">
                  <c:v>91</c:v>
                </c:pt>
                <c:pt idx="154">
                  <c:v>88</c:v>
                </c:pt>
                <c:pt idx="155">
                  <c:v>85</c:v>
                </c:pt>
                <c:pt idx="156">
                  <c:v>82</c:v>
                </c:pt>
                <c:pt idx="157">
                  <c:v>79</c:v>
                </c:pt>
                <c:pt idx="158">
                  <c:v>76</c:v>
                </c:pt>
                <c:pt idx="159">
                  <c:v>73</c:v>
                </c:pt>
                <c:pt idx="160">
                  <c:v>70</c:v>
                </c:pt>
                <c:pt idx="161">
                  <c:v>68</c:v>
                </c:pt>
                <c:pt idx="162">
                  <c:v>65</c:v>
                </c:pt>
                <c:pt idx="163">
                  <c:v>62</c:v>
                </c:pt>
                <c:pt idx="164">
                  <c:v>60</c:v>
                </c:pt>
                <c:pt idx="165">
                  <c:v>57</c:v>
                </c:pt>
                <c:pt idx="166">
                  <c:v>55</c:v>
                </c:pt>
                <c:pt idx="167">
                  <c:v>53</c:v>
                </c:pt>
                <c:pt idx="168">
                  <c:v>52</c:v>
                </c:pt>
                <c:pt idx="169">
                  <c:v>51</c:v>
                </c:pt>
                <c:pt idx="170">
                  <c:v>51</c:v>
                </c:pt>
                <c:pt idx="171">
                  <c:v>51</c:v>
                </c:pt>
                <c:pt idx="172">
                  <c:v>51</c:v>
                </c:pt>
                <c:pt idx="173">
                  <c:v>51</c:v>
                </c:pt>
                <c:pt idx="174">
                  <c:v>50</c:v>
                </c:pt>
                <c:pt idx="175">
                  <c:v>51</c:v>
                </c:pt>
                <c:pt idx="176">
                  <c:v>52</c:v>
                </c:pt>
                <c:pt idx="177">
                  <c:v>53</c:v>
                </c:pt>
                <c:pt idx="178">
                  <c:v>55</c:v>
                </c:pt>
                <c:pt idx="179">
                  <c:v>56</c:v>
                </c:pt>
                <c:pt idx="180">
                  <c:v>58</c:v>
                </c:pt>
                <c:pt idx="181">
                  <c:v>59</c:v>
                </c:pt>
                <c:pt idx="182">
                  <c:v>60</c:v>
                </c:pt>
                <c:pt idx="183">
                  <c:v>62</c:v>
                </c:pt>
                <c:pt idx="184">
                  <c:v>63</c:v>
                </c:pt>
                <c:pt idx="185">
                  <c:v>65</c:v>
                </c:pt>
                <c:pt idx="186">
                  <c:v>66</c:v>
                </c:pt>
                <c:pt idx="187">
                  <c:v>68</c:v>
                </c:pt>
                <c:pt idx="188">
                  <c:v>69</c:v>
                </c:pt>
                <c:pt idx="189">
                  <c:v>71</c:v>
                </c:pt>
                <c:pt idx="190">
                  <c:v>72</c:v>
                </c:pt>
                <c:pt idx="191">
                  <c:v>74</c:v>
                </c:pt>
                <c:pt idx="192">
                  <c:v>76</c:v>
                </c:pt>
                <c:pt idx="193">
                  <c:v>77</c:v>
                </c:pt>
                <c:pt idx="194">
                  <c:v>79</c:v>
                </c:pt>
                <c:pt idx="195">
                  <c:v>80</c:v>
                </c:pt>
                <c:pt idx="196">
                  <c:v>82</c:v>
                </c:pt>
                <c:pt idx="197">
                  <c:v>83</c:v>
                </c:pt>
                <c:pt idx="198">
                  <c:v>84</c:v>
                </c:pt>
                <c:pt idx="199">
                  <c:v>86</c:v>
                </c:pt>
                <c:pt idx="200">
                  <c:v>87</c:v>
                </c:pt>
                <c:pt idx="201">
                  <c:v>88</c:v>
                </c:pt>
                <c:pt idx="202">
                  <c:v>88</c:v>
                </c:pt>
                <c:pt idx="203">
                  <c:v>89</c:v>
                </c:pt>
                <c:pt idx="204">
                  <c:v>90</c:v>
                </c:pt>
                <c:pt idx="205">
                  <c:v>90</c:v>
                </c:pt>
                <c:pt idx="206">
                  <c:v>91</c:v>
                </c:pt>
                <c:pt idx="207">
                  <c:v>91</c:v>
                </c:pt>
                <c:pt idx="208">
                  <c:v>91</c:v>
                </c:pt>
                <c:pt idx="209">
                  <c:v>91</c:v>
                </c:pt>
                <c:pt idx="210">
                  <c:v>91</c:v>
                </c:pt>
                <c:pt idx="211">
                  <c:v>90</c:v>
                </c:pt>
                <c:pt idx="212">
                  <c:v>90</c:v>
                </c:pt>
                <c:pt idx="213">
                  <c:v>89</c:v>
                </c:pt>
                <c:pt idx="214">
                  <c:v>88</c:v>
                </c:pt>
                <c:pt idx="215">
                  <c:v>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08B-4ECE-A3C2-CA9B056846D5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08B-4ECE-A3C2-CA9B056846D5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08B-4ECE-A3C2-CA9B056846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6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203</c:v>
                </c:pt>
                <c:pt idx="1">
                  <c:v>320</c:v>
                </c:pt>
                <c:pt idx="2">
                  <c:v>251</c:v>
                </c:pt>
                <c:pt idx="3">
                  <c:v>334</c:v>
                </c:pt>
                <c:pt idx="4">
                  <c:v>161</c:v>
                </c:pt>
                <c:pt idx="5">
                  <c:v>107</c:v>
                </c:pt>
                <c:pt idx="6">
                  <c:v>157</c:v>
                </c:pt>
                <c:pt idx="7">
                  <c:v>318</c:v>
                </c:pt>
                <c:pt idx="8">
                  <c:v>357</c:v>
                </c:pt>
                <c:pt idx="9">
                  <c:v>214</c:v>
                </c:pt>
                <c:pt idx="10">
                  <c:v>341</c:v>
                </c:pt>
                <c:pt idx="11">
                  <c:v>108</c:v>
                </c:pt>
                <c:pt idx="12">
                  <c:v>180</c:v>
                </c:pt>
                <c:pt idx="13">
                  <c:v>208</c:v>
                </c:pt>
                <c:pt idx="14">
                  <c:v>361</c:v>
                </c:pt>
                <c:pt idx="15">
                  <c:v>318</c:v>
                </c:pt>
                <c:pt idx="16">
                  <c:v>304</c:v>
                </c:pt>
                <c:pt idx="17">
                  <c:v>553</c:v>
                </c:pt>
                <c:pt idx="18">
                  <c:v>248</c:v>
                </c:pt>
                <c:pt idx="19">
                  <c:v>144</c:v>
                </c:pt>
                <c:pt idx="20">
                  <c:v>340</c:v>
                </c:pt>
                <c:pt idx="21">
                  <c:v>536</c:v>
                </c:pt>
                <c:pt idx="22">
                  <c:v>647</c:v>
                </c:pt>
                <c:pt idx="23">
                  <c:v>161</c:v>
                </c:pt>
                <c:pt idx="24">
                  <c:v>142</c:v>
                </c:pt>
                <c:pt idx="25">
                  <c:v>222</c:v>
                </c:pt>
                <c:pt idx="26">
                  <c:v>97</c:v>
                </c:pt>
                <c:pt idx="27">
                  <c:v>450</c:v>
                </c:pt>
                <c:pt idx="28">
                  <c:v>609</c:v>
                </c:pt>
                <c:pt idx="29">
                  <c:v>869</c:v>
                </c:pt>
                <c:pt idx="30">
                  <c:v>416</c:v>
                </c:pt>
                <c:pt idx="31">
                  <c:v>148</c:v>
                </c:pt>
                <c:pt idx="32">
                  <c:v>236</c:v>
                </c:pt>
                <c:pt idx="33">
                  <c:v>316</c:v>
                </c:pt>
                <c:pt idx="34">
                  <c:v>670</c:v>
                </c:pt>
                <c:pt idx="35">
                  <c:v>819</c:v>
                </c:pt>
                <c:pt idx="36">
                  <c:v>800</c:v>
                </c:pt>
                <c:pt idx="37">
                  <c:v>582</c:v>
                </c:pt>
                <c:pt idx="38">
                  <c:v>803</c:v>
                </c:pt>
                <c:pt idx="39">
                  <c:v>312</c:v>
                </c:pt>
                <c:pt idx="40">
                  <c:v>202</c:v>
                </c:pt>
                <c:pt idx="41">
                  <c:v>363</c:v>
                </c:pt>
                <c:pt idx="42">
                  <c:v>493</c:v>
                </c:pt>
                <c:pt idx="43">
                  <c:v>430</c:v>
                </c:pt>
                <c:pt idx="44">
                  <c:v>306</c:v>
                </c:pt>
                <c:pt idx="45">
                  <c:v>496</c:v>
                </c:pt>
                <c:pt idx="46">
                  <c:v>223</c:v>
                </c:pt>
                <c:pt idx="47">
                  <c:v>85</c:v>
                </c:pt>
                <c:pt idx="48">
                  <c:v>333</c:v>
                </c:pt>
                <c:pt idx="49">
                  <c:v>379</c:v>
                </c:pt>
                <c:pt idx="50">
                  <c:v>259</c:v>
                </c:pt>
                <c:pt idx="51">
                  <c:v>252</c:v>
                </c:pt>
                <c:pt idx="52">
                  <c:v>269</c:v>
                </c:pt>
                <c:pt idx="53">
                  <c:v>193</c:v>
                </c:pt>
                <c:pt idx="54">
                  <c:v>67</c:v>
                </c:pt>
                <c:pt idx="55">
                  <c:v>293</c:v>
                </c:pt>
                <c:pt idx="56">
                  <c:v>275</c:v>
                </c:pt>
                <c:pt idx="57">
                  <c:v>297</c:v>
                </c:pt>
                <c:pt idx="58">
                  <c:v>269</c:v>
                </c:pt>
                <c:pt idx="59">
                  <c:v>294</c:v>
                </c:pt>
                <c:pt idx="60">
                  <c:v>177</c:v>
                </c:pt>
                <c:pt idx="61">
                  <c:v>26</c:v>
                </c:pt>
                <c:pt idx="62">
                  <c:v>233</c:v>
                </c:pt>
                <c:pt idx="63">
                  <c:v>379</c:v>
                </c:pt>
                <c:pt idx="64">
                  <c:v>238</c:v>
                </c:pt>
                <c:pt idx="65">
                  <c:v>237</c:v>
                </c:pt>
                <c:pt idx="66">
                  <c:v>308</c:v>
                </c:pt>
                <c:pt idx="67">
                  <c:v>155</c:v>
                </c:pt>
                <c:pt idx="68">
                  <c:v>47</c:v>
                </c:pt>
                <c:pt idx="69">
                  <c:v>310</c:v>
                </c:pt>
                <c:pt idx="70">
                  <c:v>366</c:v>
                </c:pt>
                <c:pt idx="71">
                  <c:v>318</c:v>
                </c:pt>
                <c:pt idx="72">
                  <c:v>251</c:v>
                </c:pt>
                <c:pt idx="73">
                  <c:v>292</c:v>
                </c:pt>
                <c:pt idx="74">
                  <c:v>157</c:v>
                </c:pt>
                <c:pt idx="75">
                  <c:v>78</c:v>
                </c:pt>
                <c:pt idx="76">
                  <c:v>252</c:v>
                </c:pt>
                <c:pt idx="77">
                  <c:v>386</c:v>
                </c:pt>
                <c:pt idx="78">
                  <c:v>284</c:v>
                </c:pt>
                <c:pt idx="79">
                  <c:v>430</c:v>
                </c:pt>
                <c:pt idx="80">
                  <c:v>385</c:v>
                </c:pt>
                <c:pt idx="81">
                  <c:v>178</c:v>
                </c:pt>
                <c:pt idx="82">
                  <c:v>101</c:v>
                </c:pt>
                <c:pt idx="83">
                  <c:v>302</c:v>
                </c:pt>
                <c:pt idx="84">
                  <c:v>540</c:v>
                </c:pt>
                <c:pt idx="85">
                  <c:v>489</c:v>
                </c:pt>
                <c:pt idx="86">
                  <c:v>527</c:v>
                </c:pt>
                <c:pt idx="87">
                  <c:v>549</c:v>
                </c:pt>
                <c:pt idx="88">
                  <c:v>291</c:v>
                </c:pt>
                <c:pt idx="89">
                  <c:v>61</c:v>
                </c:pt>
                <c:pt idx="90">
                  <c:v>402</c:v>
                </c:pt>
                <c:pt idx="91">
                  <c:v>637</c:v>
                </c:pt>
                <c:pt idx="92">
                  <c:v>612</c:v>
                </c:pt>
                <c:pt idx="93">
                  <c:v>620</c:v>
                </c:pt>
                <c:pt idx="94">
                  <c:v>451</c:v>
                </c:pt>
                <c:pt idx="95">
                  <c:v>482</c:v>
                </c:pt>
                <c:pt idx="96">
                  <c:v>210</c:v>
                </c:pt>
                <c:pt idx="97">
                  <c:v>415</c:v>
                </c:pt>
                <c:pt idx="98">
                  <c:v>614</c:v>
                </c:pt>
                <c:pt idx="99">
                  <c:v>493</c:v>
                </c:pt>
                <c:pt idx="100">
                  <c:v>656</c:v>
                </c:pt>
                <c:pt idx="101">
                  <c:v>687</c:v>
                </c:pt>
                <c:pt idx="102">
                  <c:v>422</c:v>
                </c:pt>
                <c:pt idx="103">
                  <c:v>129</c:v>
                </c:pt>
                <c:pt idx="104">
                  <c:v>433</c:v>
                </c:pt>
                <c:pt idx="105">
                  <c:v>691</c:v>
                </c:pt>
                <c:pt idx="106">
                  <c:v>571</c:v>
                </c:pt>
                <c:pt idx="107">
                  <c:v>543</c:v>
                </c:pt>
                <c:pt idx="108">
                  <c:v>539</c:v>
                </c:pt>
                <c:pt idx="109">
                  <c:v>376</c:v>
                </c:pt>
                <c:pt idx="110">
                  <c:v>72</c:v>
                </c:pt>
                <c:pt idx="111">
                  <c:v>344</c:v>
                </c:pt>
                <c:pt idx="112">
                  <c:v>572</c:v>
                </c:pt>
                <c:pt idx="113">
                  <c:v>497</c:v>
                </c:pt>
                <c:pt idx="114">
                  <c:v>454</c:v>
                </c:pt>
                <c:pt idx="115">
                  <c:v>550</c:v>
                </c:pt>
                <c:pt idx="116">
                  <c:v>296</c:v>
                </c:pt>
                <c:pt idx="117">
                  <c:v>63</c:v>
                </c:pt>
                <c:pt idx="118">
                  <c:v>247</c:v>
                </c:pt>
                <c:pt idx="119">
                  <c:v>456</c:v>
                </c:pt>
                <c:pt idx="120">
                  <c:v>498</c:v>
                </c:pt>
                <c:pt idx="121">
                  <c:v>411</c:v>
                </c:pt>
                <c:pt idx="122">
                  <c:v>281</c:v>
                </c:pt>
                <c:pt idx="123">
                  <c:v>177</c:v>
                </c:pt>
                <c:pt idx="124">
                  <c:v>111</c:v>
                </c:pt>
                <c:pt idx="125">
                  <c:v>114</c:v>
                </c:pt>
                <c:pt idx="126">
                  <c:v>261</c:v>
                </c:pt>
                <c:pt idx="127">
                  <c:v>458</c:v>
                </c:pt>
                <c:pt idx="128">
                  <c:v>305</c:v>
                </c:pt>
                <c:pt idx="129">
                  <c:v>379</c:v>
                </c:pt>
                <c:pt idx="130">
                  <c:v>229</c:v>
                </c:pt>
                <c:pt idx="131">
                  <c:v>40</c:v>
                </c:pt>
                <c:pt idx="132">
                  <c:v>192</c:v>
                </c:pt>
                <c:pt idx="133">
                  <c:v>338</c:v>
                </c:pt>
                <c:pt idx="134">
                  <c:v>277</c:v>
                </c:pt>
                <c:pt idx="135">
                  <c:v>239</c:v>
                </c:pt>
                <c:pt idx="136">
                  <c:v>213</c:v>
                </c:pt>
                <c:pt idx="137">
                  <c:v>94</c:v>
                </c:pt>
                <c:pt idx="138">
                  <c:v>37</c:v>
                </c:pt>
                <c:pt idx="139">
                  <c:v>188</c:v>
                </c:pt>
                <c:pt idx="140">
                  <c:v>249</c:v>
                </c:pt>
                <c:pt idx="141">
                  <c:v>142</c:v>
                </c:pt>
                <c:pt idx="142">
                  <c:v>166</c:v>
                </c:pt>
                <c:pt idx="143">
                  <c:v>180</c:v>
                </c:pt>
                <c:pt idx="144">
                  <c:v>65</c:v>
                </c:pt>
                <c:pt idx="145">
                  <c:v>22</c:v>
                </c:pt>
                <c:pt idx="146">
                  <c:v>166</c:v>
                </c:pt>
                <c:pt idx="147">
                  <c:v>216</c:v>
                </c:pt>
                <c:pt idx="148">
                  <c:v>101</c:v>
                </c:pt>
                <c:pt idx="149">
                  <c:v>217</c:v>
                </c:pt>
                <c:pt idx="150">
                  <c:v>150</c:v>
                </c:pt>
                <c:pt idx="151">
                  <c:v>102</c:v>
                </c:pt>
                <c:pt idx="152">
                  <c:v>17</c:v>
                </c:pt>
                <c:pt idx="153">
                  <c:v>81</c:v>
                </c:pt>
                <c:pt idx="154">
                  <c:v>173</c:v>
                </c:pt>
                <c:pt idx="155">
                  <c:v>155</c:v>
                </c:pt>
                <c:pt idx="156">
                  <c:v>103</c:v>
                </c:pt>
                <c:pt idx="157">
                  <c:v>180</c:v>
                </c:pt>
                <c:pt idx="158">
                  <c:v>41</c:v>
                </c:pt>
                <c:pt idx="159">
                  <c:v>23</c:v>
                </c:pt>
                <c:pt idx="160">
                  <c:v>62</c:v>
                </c:pt>
                <c:pt idx="161">
                  <c:v>121</c:v>
                </c:pt>
                <c:pt idx="162">
                  <c:v>80</c:v>
                </c:pt>
                <c:pt idx="163">
                  <c:v>79</c:v>
                </c:pt>
                <c:pt idx="164">
                  <c:v>74</c:v>
                </c:pt>
                <c:pt idx="165">
                  <c:v>42</c:v>
                </c:pt>
                <c:pt idx="166">
                  <c:v>4</c:v>
                </c:pt>
                <c:pt idx="167">
                  <c:v>47</c:v>
                </c:pt>
                <c:pt idx="168">
                  <c:v>60</c:v>
                </c:pt>
                <c:pt idx="169">
                  <c:v>47</c:v>
                </c:pt>
                <c:pt idx="170">
                  <c:v>44</c:v>
                </c:pt>
                <c:pt idx="171">
                  <c:v>44</c:v>
                </c:pt>
                <c:pt idx="172">
                  <c:v>11</c:v>
                </c:pt>
                <c:pt idx="173">
                  <c:v>5</c:v>
                </c:pt>
                <c:pt idx="174">
                  <c:v>28</c:v>
                </c:pt>
                <c:pt idx="175">
                  <c:v>14</c:v>
                </c:pt>
                <c:pt idx="176">
                  <c:v>48</c:v>
                </c:pt>
                <c:pt idx="177">
                  <c:v>33</c:v>
                </c:pt>
                <c:pt idx="178">
                  <c:v>27</c:v>
                </c:pt>
                <c:pt idx="179">
                  <c:v>5</c:v>
                </c:pt>
                <c:pt idx="180">
                  <c:v>3</c:v>
                </c:pt>
                <c:pt idx="181">
                  <c:v>22</c:v>
                </c:pt>
                <c:pt idx="182">
                  <c:v>14</c:v>
                </c:pt>
                <c:pt idx="183">
                  <c:v>11</c:v>
                </c:pt>
                <c:pt idx="184">
                  <c:v>13</c:v>
                </c:pt>
                <c:pt idx="185">
                  <c:v>15</c:v>
                </c:pt>
                <c:pt idx="186">
                  <c:v>1</c:v>
                </c:pt>
                <c:pt idx="187">
                  <c:v>1</c:v>
                </c:pt>
                <c:pt idx="188">
                  <c:v>17</c:v>
                </c:pt>
                <c:pt idx="189">
                  <c:v>25</c:v>
                </c:pt>
                <c:pt idx="190">
                  <c:v>8</c:v>
                </c:pt>
                <c:pt idx="191">
                  <c:v>14</c:v>
                </c:pt>
                <c:pt idx="192">
                  <c:v>10</c:v>
                </c:pt>
                <c:pt idx="193">
                  <c:v>1</c:v>
                </c:pt>
                <c:pt idx="19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EA-408B-A1C1-7313214CBD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3EA-408B-A1C1-7313214CBDD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464</c:v>
                </c:pt>
                <c:pt idx="122">
                  <c:v>451</c:v>
                </c:pt>
                <c:pt idx="123">
                  <c:v>438</c:v>
                </c:pt>
                <c:pt idx="124">
                  <c:v>426</c:v>
                </c:pt>
                <c:pt idx="125">
                  <c:v>414</c:v>
                </c:pt>
                <c:pt idx="126">
                  <c:v>402</c:v>
                </c:pt>
                <c:pt idx="127">
                  <c:v>391</c:v>
                </c:pt>
                <c:pt idx="128">
                  <c:v>380</c:v>
                </c:pt>
                <c:pt idx="129">
                  <c:v>369</c:v>
                </c:pt>
                <c:pt idx="130">
                  <c:v>358</c:v>
                </c:pt>
                <c:pt idx="131">
                  <c:v>348</c:v>
                </c:pt>
                <c:pt idx="132">
                  <c:v>338</c:v>
                </c:pt>
                <c:pt idx="133">
                  <c:v>328</c:v>
                </c:pt>
                <c:pt idx="134">
                  <c:v>318</c:v>
                </c:pt>
                <c:pt idx="135">
                  <c:v>309</c:v>
                </c:pt>
                <c:pt idx="136">
                  <c:v>300</c:v>
                </c:pt>
                <c:pt idx="137">
                  <c:v>291</c:v>
                </c:pt>
                <c:pt idx="138">
                  <c:v>282</c:v>
                </c:pt>
                <c:pt idx="139">
                  <c:v>274</c:v>
                </c:pt>
                <c:pt idx="140">
                  <c:v>265</c:v>
                </c:pt>
                <c:pt idx="141">
                  <c:v>257</c:v>
                </c:pt>
                <c:pt idx="142">
                  <c:v>249</c:v>
                </c:pt>
                <c:pt idx="143">
                  <c:v>241</c:v>
                </c:pt>
                <c:pt idx="144">
                  <c:v>234</c:v>
                </c:pt>
                <c:pt idx="145">
                  <c:v>226</c:v>
                </c:pt>
                <c:pt idx="146">
                  <c:v>219</c:v>
                </c:pt>
                <c:pt idx="147">
                  <c:v>211</c:v>
                </c:pt>
                <c:pt idx="148">
                  <c:v>204</c:v>
                </c:pt>
                <c:pt idx="149">
                  <c:v>198</c:v>
                </c:pt>
                <c:pt idx="150">
                  <c:v>191</c:v>
                </c:pt>
                <c:pt idx="151">
                  <c:v>184</c:v>
                </c:pt>
                <c:pt idx="152">
                  <c:v>178</c:v>
                </c:pt>
                <c:pt idx="153">
                  <c:v>172</c:v>
                </c:pt>
                <c:pt idx="154">
                  <c:v>166</c:v>
                </c:pt>
                <c:pt idx="155">
                  <c:v>160</c:v>
                </c:pt>
                <c:pt idx="156">
                  <c:v>154</c:v>
                </c:pt>
                <c:pt idx="157">
                  <c:v>148</c:v>
                </c:pt>
                <c:pt idx="158">
                  <c:v>143</c:v>
                </c:pt>
                <c:pt idx="159">
                  <c:v>137</c:v>
                </c:pt>
                <c:pt idx="160">
                  <c:v>132</c:v>
                </c:pt>
                <c:pt idx="161">
                  <c:v>127</c:v>
                </c:pt>
                <c:pt idx="162">
                  <c:v>122</c:v>
                </c:pt>
                <c:pt idx="163">
                  <c:v>117</c:v>
                </c:pt>
                <c:pt idx="164">
                  <c:v>113</c:v>
                </c:pt>
                <c:pt idx="165">
                  <c:v>108</c:v>
                </c:pt>
                <c:pt idx="166">
                  <c:v>104</c:v>
                </c:pt>
                <c:pt idx="167">
                  <c:v>99</c:v>
                </c:pt>
                <c:pt idx="168">
                  <c:v>95</c:v>
                </c:pt>
                <c:pt idx="169">
                  <c:v>91</c:v>
                </c:pt>
                <c:pt idx="170">
                  <c:v>87</c:v>
                </c:pt>
                <c:pt idx="171">
                  <c:v>83</c:v>
                </c:pt>
                <c:pt idx="172">
                  <c:v>79</c:v>
                </c:pt>
                <c:pt idx="173">
                  <c:v>76</c:v>
                </c:pt>
                <c:pt idx="174">
                  <c:v>72</c:v>
                </c:pt>
                <c:pt idx="175">
                  <c:v>68</c:v>
                </c:pt>
                <c:pt idx="176">
                  <c:v>65</c:v>
                </c:pt>
                <c:pt idx="177">
                  <c:v>62</c:v>
                </c:pt>
                <c:pt idx="178">
                  <c:v>58</c:v>
                </c:pt>
                <c:pt idx="179">
                  <c:v>55</c:v>
                </c:pt>
                <c:pt idx="180">
                  <c:v>52</c:v>
                </c:pt>
                <c:pt idx="181">
                  <c:v>49</c:v>
                </c:pt>
                <c:pt idx="182">
                  <c:v>46</c:v>
                </c:pt>
                <c:pt idx="183">
                  <c:v>44</c:v>
                </c:pt>
                <c:pt idx="184">
                  <c:v>41</c:v>
                </c:pt>
                <c:pt idx="185">
                  <c:v>39</c:v>
                </c:pt>
                <c:pt idx="186">
                  <c:v>36</c:v>
                </c:pt>
                <c:pt idx="187">
                  <c:v>34</c:v>
                </c:pt>
                <c:pt idx="188">
                  <c:v>32</c:v>
                </c:pt>
                <c:pt idx="189">
                  <c:v>30</c:v>
                </c:pt>
                <c:pt idx="190">
                  <c:v>29</c:v>
                </c:pt>
                <c:pt idx="191">
                  <c:v>27</c:v>
                </c:pt>
                <c:pt idx="192">
                  <c:v>25</c:v>
                </c:pt>
                <c:pt idx="193">
                  <c:v>24</c:v>
                </c:pt>
                <c:pt idx="194">
                  <c:v>23</c:v>
                </c:pt>
                <c:pt idx="195">
                  <c:v>21</c:v>
                </c:pt>
                <c:pt idx="196">
                  <c:v>20</c:v>
                </c:pt>
                <c:pt idx="197">
                  <c:v>19</c:v>
                </c:pt>
                <c:pt idx="198">
                  <c:v>18</c:v>
                </c:pt>
                <c:pt idx="199">
                  <c:v>16</c:v>
                </c:pt>
                <c:pt idx="200">
                  <c:v>15</c:v>
                </c:pt>
                <c:pt idx="201">
                  <c:v>14</c:v>
                </c:pt>
                <c:pt idx="202">
                  <c:v>14</c:v>
                </c:pt>
                <c:pt idx="203">
                  <c:v>13</c:v>
                </c:pt>
                <c:pt idx="204">
                  <c:v>12</c:v>
                </c:pt>
                <c:pt idx="205">
                  <c:v>11</c:v>
                </c:pt>
                <c:pt idx="206">
                  <c:v>10</c:v>
                </c:pt>
                <c:pt idx="207">
                  <c:v>10</c:v>
                </c:pt>
                <c:pt idx="208">
                  <c:v>9</c:v>
                </c:pt>
                <c:pt idx="209">
                  <c:v>8</c:v>
                </c:pt>
                <c:pt idx="210">
                  <c:v>8</c:v>
                </c:pt>
                <c:pt idx="211">
                  <c:v>7</c:v>
                </c:pt>
                <c:pt idx="212">
                  <c:v>7</c:v>
                </c:pt>
                <c:pt idx="213">
                  <c:v>6</c:v>
                </c:pt>
                <c:pt idx="214">
                  <c:v>6</c:v>
                </c:pt>
                <c:pt idx="215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3EA-408B-A1C1-7313214CBDDC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464</c:v>
                </c:pt>
                <c:pt idx="122">
                  <c:v>451</c:v>
                </c:pt>
                <c:pt idx="123">
                  <c:v>438</c:v>
                </c:pt>
                <c:pt idx="124">
                  <c:v>426</c:v>
                </c:pt>
                <c:pt idx="125">
                  <c:v>414</c:v>
                </c:pt>
                <c:pt idx="126">
                  <c:v>402</c:v>
                </c:pt>
                <c:pt idx="127">
                  <c:v>391</c:v>
                </c:pt>
                <c:pt idx="128">
                  <c:v>380</c:v>
                </c:pt>
                <c:pt idx="129">
                  <c:v>369</c:v>
                </c:pt>
                <c:pt idx="130">
                  <c:v>358</c:v>
                </c:pt>
                <c:pt idx="131">
                  <c:v>348</c:v>
                </c:pt>
                <c:pt idx="132">
                  <c:v>338</c:v>
                </c:pt>
                <c:pt idx="133">
                  <c:v>328</c:v>
                </c:pt>
                <c:pt idx="134">
                  <c:v>318</c:v>
                </c:pt>
                <c:pt idx="135">
                  <c:v>309</c:v>
                </c:pt>
                <c:pt idx="136">
                  <c:v>300</c:v>
                </c:pt>
                <c:pt idx="137">
                  <c:v>291</c:v>
                </c:pt>
                <c:pt idx="138">
                  <c:v>282</c:v>
                </c:pt>
                <c:pt idx="139">
                  <c:v>274</c:v>
                </c:pt>
                <c:pt idx="140">
                  <c:v>265</c:v>
                </c:pt>
                <c:pt idx="141">
                  <c:v>257</c:v>
                </c:pt>
                <c:pt idx="142">
                  <c:v>249</c:v>
                </c:pt>
                <c:pt idx="143">
                  <c:v>241</c:v>
                </c:pt>
                <c:pt idx="144">
                  <c:v>234</c:v>
                </c:pt>
                <c:pt idx="145">
                  <c:v>226</c:v>
                </c:pt>
                <c:pt idx="146">
                  <c:v>219</c:v>
                </c:pt>
                <c:pt idx="147">
                  <c:v>211</c:v>
                </c:pt>
                <c:pt idx="148">
                  <c:v>204</c:v>
                </c:pt>
                <c:pt idx="149">
                  <c:v>198</c:v>
                </c:pt>
                <c:pt idx="150">
                  <c:v>191</c:v>
                </c:pt>
                <c:pt idx="151">
                  <c:v>184</c:v>
                </c:pt>
                <c:pt idx="152">
                  <c:v>178</c:v>
                </c:pt>
                <c:pt idx="153">
                  <c:v>172</c:v>
                </c:pt>
                <c:pt idx="154">
                  <c:v>166</c:v>
                </c:pt>
                <c:pt idx="155">
                  <c:v>160</c:v>
                </c:pt>
                <c:pt idx="156">
                  <c:v>154</c:v>
                </c:pt>
                <c:pt idx="157">
                  <c:v>148</c:v>
                </c:pt>
                <c:pt idx="158">
                  <c:v>143</c:v>
                </c:pt>
                <c:pt idx="159">
                  <c:v>137</c:v>
                </c:pt>
                <c:pt idx="160">
                  <c:v>132</c:v>
                </c:pt>
                <c:pt idx="161">
                  <c:v>127</c:v>
                </c:pt>
                <c:pt idx="162">
                  <c:v>122</c:v>
                </c:pt>
                <c:pt idx="163">
                  <c:v>117</c:v>
                </c:pt>
                <c:pt idx="164">
                  <c:v>113</c:v>
                </c:pt>
                <c:pt idx="165">
                  <c:v>108</c:v>
                </c:pt>
                <c:pt idx="166">
                  <c:v>104</c:v>
                </c:pt>
                <c:pt idx="167">
                  <c:v>99</c:v>
                </c:pt>
                <c:pt idx="168">
                  <c:v>97</c:v>
                </c:pt>
                <c:pt idx="169">
                  <c:v>96</c:v>
                </c:pt>
                <c:pt idx="170">
                  <c:v>96</c:v>
                </c:pt>
                <c:pt idx="171">
                  <c:v>96</c:v>
                </c:pt>
                <c:pt idx="172">
                  <c:v>95</c:v>
                </c:pt>
                <c:pt idx="173">
                  <c:v>95</c:v>
                </c:pt>
                <c:pt idx="174">
                  <c:v>95</c:v>
                </c:pt>
                <c:pt idx="175">
                  <c:v>96</c:v>
                </c:pt>
                <c:pt idx="176">
                  <c:v>98</c:v>
                </c:pt>
                <c:pt idx="177">
                  <c:v>101</c:v>
                </c:pt>
                <c:pt idx="178">
                  <c:v>103</c:v>
                </c:pt>
                <c:pt idx="179">
                  <c:v>106</c:v>
                </c:pt>
                <c:pt idx="180">
                  <c:v>108</c:v>
                </c:pt>
                <c:pt idx="181">
                  <c:v>111</c:v>
                </c:pt>
                <c:pt idx="182">
                  <c:v>114</c:v>
                </c:pt>
                <c:pt idx="183">
                  <c:v>116</c:v>
                </c:pt>
                <c:pt idx="184">
                  <c:v>119</c:v>
                </c:pt>
                <c:pt idx="185">
                  <c:v>122</c:v>
                </c:pt>
                <c:pt idx="186">
                  <c:v>124</c:v>
                </c:pt>
                <c:pt idx="187">
                  <c:v>127</c:v>
                </c:pt>
                <c:pt idx="188">
                  <c:v>130</c:v>
                </c:pt>
                <c:pt idx="189">
                  <c:v>133</c:v>
                </c:pt>
                <c:pt idx="190">
                  <c:v>136</c:v>
                </c:pt>
                <c:pt idx="191">
                  <c:v>139</c:v>
                </c:pt>
                <c:pt idx="192">
                  <c:v>142</c:v>
                </c:pt>
                <c:pt idx="193">
                  <c:v>145</c:v>
                </c:pt>
                <c:pt idx="194">
                  <c:v>148</c:v>
                </c:pt>
                <c:pt idx="195">
                  <c:v>151</c:v>
                </c:pt>
                <c:pt idx="196">
                  <c:v>154</c:v>
                </c:pt>
                <c:pt idx="197">
                  <c:v>156</c:v>
                </c:pt>
                <c:pt idx="198">
                  <c:v>159</c:v>
                </c:pt>
                <c:pt idx="199">
                  <c:v>161</c:v>
                </c:pt>
                <c:pt idx="200">
                  <c:v>163</c:v>
                </c:pt>
                <c:pt idx="201">
                  <c:v>165</c:v>
                </c:pt>
                <c:pt idx="202">
                  <c:v>166</c:v>
                </c:pt>
                <c:pt idx="203">
                  <c:v>168</c:v>
                </c:pt>
                <c:pt idx="204">
                  <c:v>169</c:v>
                </c:pt>
                <c:pt idx="205">
                  <c:v>170</c:v>
                </c:pt>
                <c:pt idx="206">
                  <c:v>170</c:v>
                </c:pt>
                <c:pt idx="207">
                  <c:v>171</c:v>
                </c:pt>
                <c:pt idx="208">
                  <c:v>171</c:v>
                </c:pt>
                <c:pt idx="209">
                  <c:v>171</c:v>
                </c:pt>
                <c:pt idx="210">
                  <c:v>170</c:v>
                </c:pt>
                <c:pt idx="211">
                  <c:v>170</c:v>
                </c:pt>
                <c:pt idx="212">
                  <c:v>169</c:v>
                </c:pt>
                <c:pt idx="213">
                  <c:v>167</c:v>
                </c:pt>
                <c:pt idx="214">
                  <c:v>166</c:v>
                </c:pt>
                <c:pt idx="215">
                  <c:v>1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3EA-408B-A1C1-7313214CBDDC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3EA-408B-A1C1-7313214CBDDC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3EA-408B-A1C1-7313214CBD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6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579</c:v>
                </c:pt>
                <c:pt idx="1">
                  <c:v>442</c:v>
                </c:pt>
                <c:pt idx="2">
                  <c:v>455</c:v>
                </c:pt>
                <c:pt idx="3">
                  <c:v>424</c:v>
                </c:pt>
                <c:pt idx="4">
                  <c:v>238</c:v>
                </c:pt>
                <c:pt idx="5">
                  <c:v>98</c:v>
                </c:pt>
                <c:pt idx="6">
                  <c:v>509</c:v>
                </c:pt>
                <c:pt idx="7">
                  <c:v>456</c:v>
                </c:pt>
                <c:pt idx="8">
                  <c:v>773</c:v>
                </c:pt>
                <c:pt idx="9">
                  <c:v>571</c:v>
                </c:pt>
                <c:pt idx="10">
                  <c:v>652</c:v>
                </c:pt>
                <c:pt idx="11">
                  <c:v>315</c:v>
                </c:pt>
                <c:pt idx="12">
                  <c:v>171</c:v>
                </c:pt>
                <c:pt idx="13">
                  <c:v>465</c:v>
                </c:pt>
                <c:pt idx="14">
                  <c:v>688</c:v>
                </c:pt>
                <c:pt idx="15">
                  <c:v>682</c:v>
                </c:pt>
                <c:pt idx="16">
                  <c:v>453</c:v>
                </c:pt>
                <c:pt idx="17">
                  <c:v>1196</c:v>
                </c:pt>
                <c:pt idx="18">
                  <c:v>292</c:v>
                </c:pt>
                <c:pt idx="19">
                  <c:v>377</c:v>
                </c:pt>
                <c:pt idx="20">
                  <c:v>725</c:v>
                </c:pt>
                <c:pt idx="21">
                  <c:v>945</c:v>
                </c:pt>
                <c:pt idx="22">
                  <c:v>1830</c:v>
                </c:pt>
                <c:pt idx="23">
                  <c:v>193</c:v>
                </c:pt>
                <c:pt idx="24">
                  <c:v>224</c:v>
                </c:pt>
                <c:pt idx="25">
                  <c:v>164</c:v>
                </c:pt>
                <c:pt idx="26">
                  <c:v>180</c:v>
                </c:pt>
                <c:pt idx="27">
                  <c:v>767</c:v>
                </c:pt>
                <c:pt idx="28">
                  <c:v>1473</c:v>
                </c:pt>
                <c:pt idx="29">
                  <c:v>1674</c:v>
                </c:pt>
                <c:pt idx="30">
                  <c:v>1130</c:v>
                </c:pt>
                <c:pt idx="31">
                  <c:v>407</c:v>
                </c:pt>
                <c:pt idx="32">
                  <c:v>381</c:v>
                </c:pt>
                <c:pt idx="33">
                  <c:v>303</c:v>
                </c:pt>
                <c:pt idx="34">
                  <c:v>1096</c:v>
                </c:pt>
                <c:pt idx="35">
                  <c:v>1811</c:v>
                </c:pt>
                <c:pt idx="36">
                  <c:v>1839</c:v>
                </c:pt>
                <c:pt idx="37">
                  <c:v>1451</c:v>
                </c:pt>
                <c:pt idx="38">
                  <c:v>1506</c:v>
                </c:pt>
                <c:pt idx="39">
                  <c:v>655</c:v>
                </c:pt>
                <c:pt idx="40">
                  <c:v>308</c:v>
                </c:pt>
                <c:pt idx="41">
                  <c:v>769</c:v>
                </c:pt>
                <c:pt idx="42">
                  <c:v>1129</c:v>
                </c:pt>
                <c:pt idx="43">
                  <c:v>965</c:v>
                </c:pt>
                <c:pt idx="44">
                  <c:v>834</c:v>
                </c:pt>
                <c:pt idx="45">
                  <c:v>1027</c:v>
                </c:pt>
                <c:pt idx="46">
                  <c:v>569</c:v>
                </c:pt>
                <c:pt idx="47">
                  <c:v>251</c:v>
                </c:pt>
                <c:pt idx="48">
                  <c:v>620</c:v>
                </c:pt>
                <c:pt idx="49">
                  <c:v>803</c:v>
                </c:pt>
                <c:pt idx="50">
                  <c:v>851</c:v>
                </c:pt>
                <c:pt idx="51">
                  <c:v>714</c:v>
                </c:pt>
                <c:pt idx="52">
                  <c:v>849</c:v>
                </c:pt>
                <c:pt idx="53">
                  <c:v>350</c:v>
                </c:pt>
                <c:pt idx="54">
                  <c:v>190</c:v>
                </c:pt>
                <c:pt idx="55">
                  <c:v>565</c:v>
                </c:pt>
                <c:pt idx="56">
                  <c:v>820</c:v>
                </c:pt>
                <c:pt idx="57">
                  <c:v>868</c:v>
                </c:pt>
                <c:pt idx="58">
                  <c:v>660</c:v>
                </c:pt>
                <c:pt idx="59">
                  <c:v>759</c:v>
                </c:pt>
                <c:pt idx="60">
                  <c:v>264</c:v>
                </c:pt>
                <c:pt idx="61">
                  <c:v>171</c:v>
                </c:pt>
                <c:pt idx="62">
                  <c:v>633</c:v>
                </c:pt>
                <c:pt idx="63">
                  <c:v>727</c:v>
                </c:pt>
                <c:pt idx="64">
                  <c:v>856</c:v>
                </c:pt>
                <c:pt idx="65">
                  <c:v>544</c:v>
                </c:pt>
                <c:pt idx="66">
                  <c:v>726</c:v>
                </c:pt>
                <c:pt idx="67">
                  <c:v>381</c:v>
                </c:pt>
                <c:pt idx="68">
                  <c:v>201</c:v>
                </c:pt>
                <c:pt idx="69">
                  <c:v>641</c:v>
                </c:pt>
                <c:pt idx="70">
                  <c:v>909</c:v>
                </c:pt>
                <c:pt idx="71">
                  <c:v>734</c:v>
                </c:pt>
                <c:pt idx="72">
                  <c:v>685</c:v>
                </c:pt>
                <c:pt idx="73">
                  <c:v>878</c:v>
                </c:pt>
                <c:pt idx="74">
                  <c:v>156</c:v>
                </c:pt>
                <c:pt idx="75">
                  <c:v>328</c:v>
                </c:pt>
                <c:pt idx="76">
                  <c:v>662</c:v>
                </c:pt>
                <c:pt idx="77">
                  <c:v>1102</c:v>
                </c:pt>
                <c:pt idx="78">
                  <c:v>782</c:v>
                </c:pt>
                <c:pt idx="79">
                  <c:v>804</c:v>
                </c:pt>
                <c:pt idx="80">
                  <c:v>1063</c:v>
                </c:pt>
                <c:pt idx="81">
                  <c:v>251</c:v>
                </c:pt>
                <c:pt idx="82">
                  <c:v>383</c:v>
                </c:pt>
                <c:pt idx="83">
                  <c:v>1050</c:v>
                </c:pt>
                <c:pt idx="84">
                  <c:v>1240</c:v>
                </c:pt>
                <c:pt idx="85">
                  <c:v>1080</c:v>
                </c:pt>
                <c:pt idx="86">
                  <c:v>1205</c:v>
                </c:pt>
                <c:pt idx="87">
                  <c:v>1102</c:v>
                </c:pt>
                <c:pt idx="88">
                  <c:v>676</c:v>
                </c:pt>
                <c:pt idx="89">
                  <c:v>322</c:v>
                </c:pt>
                <c:pt idx="90">
                  <c:v>1152</c:v>
                </c:pt>
                <c:pt idx="91">
                  <c:v>1449</c:v>
                </c:pt>
                <c:pt idx="92">
                  <c:v>1410</c:v>
                </c:pt>
                <c:pt idx="93">
                  <c:v>1157</c:v>
                </c:pt>
                <c:pt idx="94">
                  <c:v>1380</c:v>
                </c:pt>
                <c:pt idx="95">
                  <c:v>716</c:v>
                </c:pt>
                <c:pt idx="96">
                  <c:v>344</c:v>
                </c:pt>
                <c:pt idx="97">
                  <c:v>1000</c:v>
                </c:pt>
                <c:pt idx="98">
                  <c:v>1519</c:v>
                </c:pt>
                <c:pt idx="99">
                  <c:v>1163</c:v>
                </c:pt>
                <c:pt idx="100">
                  <c:v>886</c:v>
                </c:pt>
                <c:pt idx="101">
                  <c:v>1484</c:v>
                </c:pt>
                <c:pt idx="102">
                  <c:v>749</c:v>
                </c:pt>
                <c:pt idx="103">
                  <c:v>279</c:v>
                </c:pt>
                <c:pt idx="104">
                  <c:v>974</c:v>
                </c:pt>
                <c:pt idx="105">
                  <c:v>1493</c:v>
                </c:pt>
                <c:pt idx="106">
                  <c:v>1143</c:v>
                </c:pt>
                <c:pt idx="107">
                  <c:v>1000</c:v>
                </c:pt>
                <c:pt idx="108">
                  <c:v>1003</c:v>
                </c:pt>
                <c:pt idx="109">
                  <c:v>386</c:v>
                </c:pt>
                <c:pt idx="110">
                  <c:v>221</c:v>
                </c:pt>
                <c:pt idx="111">
                  <c:v>827</c:v>
                </c:pt>
                <c:pt idx="112">
                  <c:v>1118</c:v>
                </c:pt>
                <c:pt idx="113">
                  <c:v>841</c:v>
                </c:pt>
                <c:pt idx="114">
                  <c:v>934</c:v>
                </c:pt>
                <c:pt idx="115">
                  <c:v>683</c:v>
                </c:pt>
                <c:pt idx="116">
                  <c:v>461</c:v>
                </c:pt>
                <c:pt idx="117">
                  <c:v>183</c:v>
                </c:pt>
                <c:pt idx="118">
                  <c:v>776</c:v>
                </c:pt>
                <c:pt idx="119">
                  <c:v>953</c:v>
                </c:pt>
                <c:pt idx="120">
                  <c:v>859</c:v>
                </c:pt>
                <c:pt idx="121">
                  <c:v>721</c:v>
                </c:pt>
                <c:pt idx="122">
                  <c:v>403</c:v>
                </c:pt>
                <c:pt idx="123">
                  <c:v>183</c:v>
                </c:pt>
                <c:pt idx="124">
                  <c:v>160</c:v>
                </c:pt>
                <c:pt idx="125">
                  <c:v>95</c:v>
                </c:pt>
                <c:pt idx="126">
                  <c:v>583</c:v>
                </c:pt>
                <c:pt idx="127">
                  <c:v>868</c:v>
                </c:pt>
                <c:pt idx="128">
                  <c:v>523</c:v>
                </c:pt>
                <c:pt idx="129">
                  <c:v>519</c:v>
                </c:pt>
                <c:pt idx="130">
                  <c:v>220</c:v>
                </c:pt>
                <c:pt idx="131">
                  <c:v>90</c:v>
                </c:pt>
                <c:pt idx="132">
                  <c:v>363</c:v>
                </c:pt>
                <c:pt idx="133">
                  <c:v>550</c:v>
                </c:pt>
                <c:pt idx="134">
                  <c:v>355</c:v>
                </c:pt>
                <c:pt idx="135">
                  <c:v>370</c:v>
                </c:pt>
                <c:pt idx="136">
                  <c:v>279</c:v>
                </c:pt>
                <c:pt idx="137">
                  <c:v>197</c:v>
                </c:pt>
                <c:pt idx="138">
                  <c:v>65</c:v>
                </c:pt>
                <c:pt idx="139">
                  <c:v>428</c:v>
                </c:pt>
                <c:pt idx="140">
                  <c:v>463</c:v>
                </c:pt>
                <c:pt idx="141">
                  <c:v>290</c:v>
                </c:pt>
                <c:pt idx="142">
                  <c:v>363</c:v>
                </c:pt>
                <c:pt idx="143">
                  <c:v>246</c:v>
                </c:pt>
                <c:pt idx="144">
                  <c:v>113</c:v>
                </c:pt>
                <c:pt idx="145">
                  <c:v>179</c:v>
                </c:pt>
                <c:pt idx="146">
                  <c:v>290</c:v>
                </c:pt>
                <c:pt idx="147">
                  <c:v>407</c:v>
                </c:pt>
                <c:pt idx="148">
                  <c:v>241</c:v>
                </c:pt>
                <c:pt idx="149">
                  <c:v>237</c:v>
                </c:pt>
                <c:pt idx="150">
                  <c:v>291</c:v>
                </c:pt>
                <c:pt idx="151">
                  <c:v>120</c:v>
                </c:pt>
                <c:pt idx="152">
                  <c:v>67</c:v>
                </c:pt>
                <c:pt idx="153">
                  <c:v>211</c:v>
                </c:pt>
                <c:pt idx="154">
                  <c:v>310</c:v>
                </c:pt>
                <c:pt idx="155">
                  <c:v>208</c:v>
                </c:pt>
                <c:pt idx="156">
                  <c:v>191</c:v>
                </c:pt>
                <c:pt idx="157">
                  <c:v>203</c:v>
                </c:pt>
                <c:pt idx="158">
                  <c:v>87</c:v>
                </c:pt>
                <c:pt idx="159">
                  <c:v>73</c:v>
                </c:pt>
                <c:pt idx="160">
                  <c:v>167</c:v>
                </c:pt>
                <c:pt idx="161">
                  <c:v>224</c:v>
                </c:pt>
                <c:pt idx="162">
                  <c:v>158</c:v>
                </c:pt>
                <c:pt idx="163">
                  <c:v>131</c:v>
                </c:pt>
                <c:pt idx="164">
                  <c:v>98</c:v>
                </c:pt>
                <c:pt idx="165">
                  <c:v>101</c:v>
                </c:pt>
                <c:pt idx="166">
                  <c:v>59</c:v>
                </c:pt>
                <c:pt idx="167">
                  <c:v>100</c:v>
                </c:pt>
                <c:pt idx="168">
                  <c:v>169</c:v>
                </c:pt>
                <c:pt idx="169">
                  <c:v>112</c:v>
                </c:pt>
                <c:pt idx="170">
                  <c:v>60</c:v>
                </c:pt>
                <c:pt idx="171">
                  <c:v>85</c:v>
                </c:pt>
                <c:pt idx="172">
                  <c:v>31</c:v>
                </c:pt>
                <c:pt idx="173">
                  <c:v>40</c:v>
                </c:pt>
                <c:pt idx="174">
                  <c:v>61</c:v>
                </c:pt>
                <c:pt idx="175">
                  <c:v>78</c:v>
                </c:pt>
                <c:pt idx="176">
                  <c:v>62</c:v>
                </c:pt>
                <c:pt idx="177">
                  <c:v>66</c:v>
                </c:pt>
                <c:pt idx="178">
                  <c:v>28</c:v>
                </c:pt>
                <c:pt idx="179">
                  <c:v>27</c:v>
                </c:pt>
                <c:pt idx="180">
                  <c:v>9</c:v>
                </c:pt>
                <c:pt idx="181">
                  <c:v>58</c:v>
                </c:pt>
                <c:pt idx="182">
                  <c:v>42</c:v>
                </c:pt>
                <c:pt idx="183">
                  <c:v>44</c:v>
                </c:pt>
                <c:pt idx="184">
                  <c:v>31</c:v>
                </c:pt>
                <c:pt idx="185">
                  <c:v>31</c:v>
                </c:pt>
                <c:pt idx="186">
                  <c:v>17</c:v>
                </c:pt>
                <c:pt idx="187">
                  <c:v>5</c:v>
                </c:pt>
                <c:pt idx="188">
                  <c:v>24</c:v>
                </c:pt>
                <c:pt idx="189">
                  <c:v>32</c:v>
                </c:pt>
                <c:pt idx="190">
                  <c:v>20</c:v>
                </c:pt>
                <c:pt idx="191">
                  <c:v>20</c:v>
                </c:pt>
                <c:pt idx="192">
                  <c:v>17</c:v>
                </c:pt>
                <c:pt idx="193">
                  <c:v>11</c:v>
                </c:pt>
                <c:pt idx="194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64F-43B8-A45A-D0CEB67792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64F-43B8-A45A-D0CEB67792B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781</c:v>
                </c:pt>
                <c:pt idx="122">
                  <c:v>759</c:v>
                </c:pt>
                <c:pt idx="123">
                  <c:v>738</c:v>
                </c:pt>
                <c:pt idx="124">
                  <c:v>718</c:v>
                </c:pt>
                <c:pt idx="125">
                  <c:v>697</c:v>
                </c:pt>
                <c:pt idx="126">
                  <c:v>678</c:v>
                </c:pt>
                <c:pt idx="127">
                  <c:v>658</c:v>
                </c:pt>
                <c:pt idx="128">
                  <c:v>640</c:v>
                </c:pt>
                <c:pt idx="129">
                  <c:v>621</c:v>
                </c:pt>
                <c:pt idx="130">
                  <c:v>603</c:v>
                </c:pt>
                <c:pt idx="131">
                  <c:v>586</c:v>
                </c:pt>
                <c:pt idx="132">
                  <c:v>569</c:v>
                </c:pt>
                <c:pt idx="133">
                  <c:v>552</c:v>
                </c:pt>
                <c:pt idx="134">
                  <c:v>536</c:v>
                </c:pt>
                <c:pt idx="135">
                  <c:v>521</c:v>
                </c:pt>
                <c:pt idx="136">
                  <c:v>505</c:v>
                </c:pt>
                <c:pt idx="137">
                  <c:v>490</c:v>
                </c:pt>
                <c:pt idx="138">
                  <c:v>475</c:v>
                </c:pt>
                <c:pt idx="139">
                  <c:v>461</c:v>
                </c:pt>
                <c:pt idx="140">
                  <c:v>447</c:v>
                </c:pt>
                <c:pt idx="141">
                  <c:v>433</c:v>
                </c:pt>
                <c:pt idx="142">
                  <c:v>420</c:v>
                </c:pt>
                <c:pt idx="143">
                  <c:v>406</c:v>
                </c:pt>
                <c:pt idx="144">
                  <c:v>393</c:v>
                </c:pt>
                <c:pt idx="145">
                  <c:v>381</c:v>
                </c:pt>
                <c:pt idx="146">
                  <c:v>368</c:v>
                </c:pt>
                <c:pt idx="147">
                  <c:v>356</c:v>
                </c:pt>
                <c:pt idx="148">
                  <c:v>344</c:v>
                </c:pt>
                <c:pt idx="149">
                  <c:v>333</c:v>
                </c:pt>
                <c:pt idx="150">
                  <c:v>322</c:v>
                </c:pt>
                <c:pt idx="151">
                  <c:v>310</c:v>
                </c:pt>
                <c:pt idx="152">
                  <c:v>300</c:v>
                </c:pt>
                <c:pt idx="153">
                  <c:v>289</c:v>
                </c:pt>
                <c:pt idx="154">
                  <c:v>279</c:v>
                </c:pt>
                <c:pt idx="155">
                  <c:v>269</c:v>
                </c:pt>
                <c:pt idx="156">
                  <c:v>259</c:v>
                </c:pt>
                <c:pt idx="157">
                  <c:v>250</c:v>
                </c:pt>
                <c:pt idx="158">
                  <c:v>240</c:v>
                </c:pt>
                <c:pt idx="159">
                  <c:v>231</c:v>
                </c:pt>
                <c:pt idx="160">
                  <c:v>223</c:v>
                </c:pt>
                <c:pt idx="161">
                  <c:v>214</c:v>
                </c:pt>
                <c:pt idx="162">
                  <c:v>206</c:v>
                </c:pt>
                <c:pt idx="163">
                  <c:v>198</c:v>
                </c:pt>
                <c:pt idx="164">
                  <c:v>190</c:v>
                </c:pt>
                <c:pt idx="165">
                  <c:v>182</c:v>
                </c:pt>
                <c:pt idx="166">
                  <c:v>174</c:v>
                </c:pt>
                <c:pt idx="167">
                  <c:v>167</c:v>
                </c:pt>
                <c:pt idx="168">
                  <c:v>160</c:v>
                </c:pt>
                <c:pt idx="169">
                  <c:v>153</c:v>
                </c:pt>
                <c:pt idx="170">
                  <c:v>147</c:v>
                </c:pt>
                <c:pt idx="171">
                  <c:v>140</c:v>
                </c:pt>
                <c:pt idx="172">
                  <c:v>134</c:v>
                </c:pt>
                <c:pt idx="173">
                  <c:v>127</c:v>
                </c:pt>
                <c:pt idx="174">
                  <c:v>121</c:v>
                </c:pt>
                <c:pt idx="175">
                  <c:v>115</c:v>
                </c:pt>
                <c:pt idx="176">
                  <c:v>109</c:v>
                </c:pt>
                <c:pt idx="177">
                  <c:v>104</c:v>
                </c:pt>
                <c:pt idx="178">
                  <c:v>98</c:v>
                </c:pt>
                <c:pt idx="179">
                  <c:v>93</c:v>
                </c:pt>
                <c:pt idx="180">
                  <c:v>88</c:v>
                </c:pt>
                <c:pt idx="181">
                  <c:v>83</c:v>
                </c:pt>
                <c:pt idx="182">
                  <c:v>78</c:v>
                </c:pt>
                <c:pt idx="183">
                  <c:v>74</c:v>
                </c:pt>
                <c:pt idx="184">
                  <c:v>69</c:v>
                </c:pt>
                <c:pt idx="185">
                  <c:v>65</c:v>
                </c:pt>
                <c:pt idx="186">
                  <c:v>61</c:v>
                </c:pt>
                <c:pt idx="187">
                  <c:v>58</c:v>
                </c:pt>
                <c:pt idx="188">
                  <c:v>55</c:v>
                </c:pt>
                <c:pt idx="189">
                  <c:v>51</c:v>
                </c:pt>
                <c:pt idx="190">
                  <c:v>48</c:v>
                </c:pt>
                <c:pt idx="191">
                  <c:v>46</c:v>
                </c:pt>
                <c:pt idx="192">
                  <c:v>43</c:v>
                </c:pt>
                <c:pt idx="193">
                  <c:v>40</c:v>
                </c:pt>
                <c:pt idx="194">
                  <c:v>38</c:v>
                </c:pt>
                <c:pt idx="195">
                  <c:v>36</c:v>
                </c:pt>
                <c:pt idx="196">
                  <c:v>34</c:v>
                </c:pt>
                <c:pt idx="197">
                  <c:v>32</c:v>
                </c:pt>
                <c:pt idx="198">
                  <c:v>30</c:v>
                </c:pt>
                <c:pt idx="199">
                  <c:v>28</c:v>
                </c:pt>
                <c:pt idx="200">
                  <c:v>26</c:v>
                </c:pt>
                <c:pt idx="201">
                  <c:v>24</c:v>
                </c:pt>
                <c:pt idx="202">
                  <c:v>23</c:v>
                </c:pt>
                <c:pt idx="203">
                  <c:v>21</c:v>
                </c:pt>
                <c:pt idx="204">
                  <c:v>20</c:v>
                </c:pt>
                <c:pt idx="205">
                  <c:v>19</c:v>
                </c:pt>
                <c:pt idx="206">
                  <c:v>17</c:v>
                </c:pt>
                <c:pt idx="207">
                  <c:v>16</c:v>
                </c:pt>
                <c:pt idx="208">
                  <c:v>15</c:v>
                </c:pt>
                <c:pt idx="209">
                  <c:v>14</c:v>
                </c:pt>
                <c:pt idx="210">
                  <c:v>13</c:v>
                </c:pt>
                <c:pt idx="211">
                  <c:v>12</c:v>
                </c:pt>
                <c:pt idx="212">
                  <c:v>11</c:v>
                </c:pt>
                <c:pt idx="213">
                  <c:v>10</c:v>
                </c:pt>
                <c:pt idx="214">
                  <c:v>9</c:v>
                </c:pt>
                <c:pt idx="215">
                  <c:v>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64F-43B8-A45A-D0CEB67792B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781</c:v>
                </c:pt>
                <c:pt idx="122">
                  <c:v>759</c:v>
                </c:pt>
                <c:pt idx="123">
                  <c:v>738</c:v>
                </c:pt>
                <c:pt idx="124">
                  <c:v>718</c:v>
                </c:pt>
                <c:pt idx="125">
                  <c:v>697</c:v>
                </c:pt>
                <c:pt idx="126">
                  <c:v>678</c:v>
                </c:pt>
                <c:pt idx="127">
                  <c:v>658</c:v>
                </c:pt>
                <c:pt idx="128">
                  <c:v>640</c:v>
                </c:pt>
                <c:pt idx="129">
                  <c:v>621</c:v>
                </c:pt>
                <c:pt idx="130">
                  <c:v>603</c:v>
                </c:pt>
                <c:pt idx="131">
                  <c:v>586</c:v>
                </c:pt>
                <c:pt idx="132">
                  <c:v>569</c:v>
                </c:pt>
                <c:pt idx="133">
                  <c:v>552</c:v>
                </c:pt>
                <c:pt idx="134">
                  <c:v>536</c:v>
                </c:pt>
                <c:pt idx="135">
                  <c:v>521</c:v>
                </c:pt>
                <c:pt idx="136">
                  <c:v>505</c:v>
                </c:pt>
                <c:pt idx="137">
                  <c:v>490</c:v>
                </c:pt>
                <c:pt idx="138">
                  <c:v>475</c:v>
                </c:pt>
                <c:pt idx="139">
                  <c:v>461</c:v>
                </c:pt>
                <c:pt idx="140">
                  <c:v>447</c:v>
                </c:pt>
                <c:pt idx="141">
                  <c:v>433</c:v>
                </c:pt>
                <c:pt idx="142">
                  <c:v>420</c:v>
                </c:pt>
                <c:pt idx="143">
                  <c:v>406</c:v>
                </c:pt>
                <c:pt idx="144">
                  <c:v>393</c:v>
                </c:pt>
                <c:pt idx="145">
                  <c:v>381</c:v>
                </c:pt>
                <c:pt idx="146">
                  <c:v>368</c:v>
                </c:pt>
                <c:pt idx="147">
                  <c:v>356</c:v>
                </c:pt>
                <c:pt idx="148">
                  <c:v>344</c:v>
                </c:pt>
                <c:pt idx="149">
                  <c:v>333</c:v>
                </c:pt>
                <c:pt idx="150">
                  <c:v>322</c:v>
                </c:pt>
                <c:pt idx="151">
                  <c:v>310</c:v>
                </c:pt>
                <c:pt idx="152">
                  <c:v>300</c:v>
                </c:pt>
                <c:pt idx="153">
                  <c:v>289</c:v>
                </c:pt>
                <c:pt idx="154">
                  <c:v>279</c:v>
                </c:pt>
                <c:pt idx="155">
                  <c:v>269</c:v>
                </c:pt>
                <c:pt idx="156">
                  <c:v>259</c:v>
                </c:pt>
                <c:pt idx="157">
                  <c:v>250</c:v>
                </c:pt>
                <c:pt idx="158">
                  <c:v>240</c:v>
                </c:pt>
                <c:pt idx="159">
                  <c:v>231</c:v>
                </c:pt>
                <c:pt idx="160">
                  <c:v>223</c:v>
                </c:pt>
                <c:pt idx="161">
                  <c:v>214</c:v>
                </c:pt>
                <c:pt idx="162">
                  <c:v>206</c:v>
                </c:pt>
                <c:pt idx="163">
                  <c:v>198</c:v>
                </c:pt>
                <c:pt idx="164">
                  <c:v>190</c:v>
                </c:pt>
                <c:pt idx="165">
                  <c:v>182</c:v>
                </c:pt>
                <c:pt idx="166">
                  <c:v>174</c:v>
                </c:pt>
                <c:pt idx="167">
                  <c:v>167</c:v>
                </c:pt>
                <c:pt idx="168">
                  <c:v>164</c:v>
                </c:pt>
                <c:pt idx="169">
                  <c:v>162</c:v>
                </c:pt>
                <c:pt idx="170">
                  <c:v>162</c:v>
                </c:pt>
                <c:pt idx="171">
                  <c:v>161</c:v>
                </c:pt>
                <c:pt idx="172">
                  <c:v>161</c:v>
                </c:pt>
                <c:pt idx="173">
                  <c:v>160</c:v>
                </c:pt>
                <c:pt idx="174">
                  <c:v>160</c:v>
                </c:pt>
                <c:pt idx="175">
                  <c:v>162</c:v>
                </c:pt>
                <c:pt idx="176">
                  <c:v>165</c:v>
                </c:pt>
                <c:pt idx="177">
                  <c:v>169</c:v>
                </c:pt>
                <c:pt idx="178">
                  <c:v>174</c:v>
                </c:pt>
                <c:pt idx="179">
                  <c:v>178</c:v>
                </c:pt>
                <c:pt idx="180">
                  <c:v>183</c:v>
                </c:pt>
                <c:pt idx="181">
                  <c:v>187</c:v>
                </c:pt>
                <c:pt idx="182">
                  <c:v>191</c:v>
                </c:pt>
                <c:pt idx="183">
                  <c:v>196</c:v>
                </c:pt>
                <c:pt idx="184">
                  <c:v>200</c:v>
                </c:pt>
                <c:pt idx="185">
                  <c:v>205</c:v>
                </c:pt>
                <c:pt idx="186">
                  <c:v>210</c:v>
                </c:pt>
                <c:pt idx="187">
                  <c:v>214</c:v>
                </c:pt>
                <c:pt idx="188">
                  <c:v>219</c:v>
                </c:pt>
                <c:pt idx="189">
                  <c:v>224</c:v>
                </c:pt>
                <c:pt idx="190">
                  <c:v>230</c:v>
                </c:pt>
                <c:pt idx="191">
                  <c:v>235</c:v>
                </c:pt>
                <c:pt idx="192">
                  <c:v>240</c:v>
                </c:pt>
                <c:pt idx="193">
                  <c:v>245</c:v>
                </c:pt>
                <c:pt idx="194">
                  <c:v>250</c:v>
                </c:pt>
                <c:pt idx="195">
                  <c:v>255</c:v>
                </c:pt>
                <c:pt idx="196">
                  <c:v>259</c:v>
                </c:pt>
                <c:pt idx="197">
                  <c:v>264</c:v>
                </c:pt>
                <c:pt idx="198">
                  <c:v>268</c:v>
                </c:pt>
                <c:pt idx="199">
                  <c:v>271</c:v>
                </c:pt>
                <c:pt idx="200">
                  <c:v>275</c:v>
                </c:pt>
                <c:pt idx="201">
                  <c:v>278</c:v>
                </c:pt>
                <c:pt idx="202">
                  <c:v>280</c:v>
                </c:pt>
                <c:pt idx="203">
                  <c:v>283</c:v>
                </c:pt>
                <c:pt idx="204">
                  <c:v>285</c:v>
                </c:pt>
                <c:pt idx="205">
                  <c:v>286</c:v>
                </c:pt>
                <c:pt idx="206">
                  <c:v>287</c:v>
                </c:pt>
                <c:pt idx="207">
                  <c:v>288</c:v>
                </c:pt>
                <c:pt idx="208">
                  <c:v>288</c:v>
                </c:pt>
                <c:pt idx="209">
                  <c:v>288</c:v>
                </c:pt>
                <c:pt idx="210">
                  <c:v>287</c:v>
                </c:pt>
                <c:pt idx="211">
                  <c:v>286</c:v>
                </c:pt>
                <c:pt idx="212">
                  <c:v>284</c:v>
                </c:pt>
                <c:pt idx="213">
                  <c:v>282</c:v>
                </c:pt>
                <c:pt idx="214">
                  <c:v>280</c:v>
                </c:pt>
                <c:pt idx="215">
                  <c:v>2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64F-43B8-A45A-D0CEB67792B6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64F-43B8-A45A-D0CEB67792B6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64F-43B8-A45A-D0CEB67792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358</c:v>
                </c:pt>
                <c:pt idx="1">
                  <c:v>256</c:v>
                </c:pt>
                <c:pt idx="2">
                  <c:v>237</c:v>
                </c:pt>
                <c:pt idx="3">
                  <c:v>339</c:v>
                </c:pt>
                <c:pt idx="4">
                  <c:v>148</c:v>
                </c:pt>
                <c:pt idx="5">
                  <c:v>26</c:v>
                </c:pt>
                <c:pt idx="6">
                  <c:v>321</c:v>
                </c:pt>
                <c:pt idx="7">
                  <c:v>338</c:v>
                </c:pt>
                <c:pt idx="8">
                  <c:v>558</c:v>
                </c:pt>
                <c:pt idx="9">
                  <c:v>254</c:v>
                </c:pt>
                <c:pt idx="10">
                  <c:v>488</c:v>
                </c:pt>
                <c:pt idx="11">
                  <c:v>88</c:v>
                </c:pt>
                <c:pt idx="12">
                  <c:v>135</c:v>
                </c:pt>
                <c:pt idx="13">
                  <c:v>390</c:v>
                </c:pt>
                <c:pt idx="14">
                  <c:v>485</c:v>
                </c:pt>
                <c:pt idx="15">
                  <c:v>533</c:v>
                </c:pt>
                <c:pt idx="16">
                  <c:v>496</c:v>
                </c:pt>
                <c:pt idx="17">
                  <c:v>424</c:v>
                </c:pt>
                <c:pt idx="18">
                  <c:v>177</c:v>
                </c:pt>
                <c:pt idx="19">
                  <c:v>193</c:v>
                </c:pt>
                <c:pt idx="20">
                  <c:v>528</c:v>
                </c:pt>
                <c:pt idx="21">
                  <c:v>406</c:v>
                </c:pt>
                <c:pt idx="22">
                  <c:v>1134</c:v>
                </c:pt>
                <c:pt idx="23">
                  <c:v>101</c:v>
                </c:pt>
                <c:pt idx="24">
                  <c:v>173</c:v>
                </c:pt>
                <c:pt idx="25">
                  <c:v>113</c:v>
                </c:pt>
                <c:pt idx="26">
                  <c:v>194</c:v>
                </c:pt>
                <c:pt idx="27">
                  <c:v>397</c:v>
                </c:pt>
                <c:pt idx="28">
                  <c:v>1246</c:v>
                </c:pt>
                <c:pt idx="29">
                  <c:v>966</c:v>
                </c:pt>
                <c:pt idx="30">
                  <c:v>549</c:v>
                </c:pt>
                <c:pt idx="31">
                  <c:v>103</c:v>
                </c:pt>
                <c:pt idx="32">
                  <c:v>88</c:v>
                </c:pt>
                <c:pt idx="33">
                  <c:v>247</c:v>
                </c:pt>
                <c:pt idx="34">
                  <c:v>836</c:v>
                </c:pt>
                <c:pt idx="35">
                  <c:v>624</c:v>
                </c:pt>
                <c:pt idx="36">
                  <c:v>1270</c:v>
                </c:pt>
                <c:pt idx="37">
                  <c:v>785</c:v>
                </c:pt>
                <c:pt idx="38">
                  <c:v>389</c:v>
                </c:pt>
                <c:pt idx="39">
                  <c:v>731</c:v>
                </c:pt>
                <c:pt idx="40">
                  <c:v>165</c:v>
                </c:pt>
                <c:pt idx="41">
                  <c:v>621</c:v>
                </c:pt>
                <c:pt idx="42">
                  <c:v>669</c:v>
                </c:pt>
                <c:pt idx="43">
                  <c:v>654</c:v>
                </c:pt>
                <c:pt idx="44">
                  <c:v>289</c:v>
                </c:pt>
                <c:pt idx="45">
                  <c:v>513</c:v>
                </c:pt>
                <c:pt idx="46">
                  <c:v>114</c:v>
                </c:pt>
                <c:pt idx="47">
                  <c:v>139</c:v>
                </c:pt>
                <c:pt idx="48">
                  <c:v>711</c:v>
                </c:pt>
                <c:pt idx="49">
                  <c:v>513</c:v>
                </c:pt>
                <c:pt idx="50">
                  <c:v>485</c:v>
                </c:pt>
                <c:pt idx="51">
                  <c:v>392</c:v>
                </c:pt>
                <c:pt idx="52">
                  <c:v>428</c:v>
                </c:pt>
                <c:pt idx="53">
                  <c:v>128</c:v>
                </c:pt>
                <c:pt idx="54">
                  <c:v>127</c:v>
                </c:pt>
                <c:pt idx="55">
                  <c:v>464</c:v>
                </c:pt>
                <c:pt idx="56">
                  <c:v>522</c:v>
                </c:pt>
                <c:pt idx="57">
                  <c:v>457</c:v>
                </c:pt>
                <c:pt idx="58">
                  <c:v>379</c:v>
                </c:pt>
                <c:pt idx="59">
                  <c:v>420</c:v>
                </c:pt>
                <c:pt idx="60">
                  <c:v>82</c:v>
                </c:pt>
                <c:pt idx="61">
                  <c:v>81</c:v>
                </c:pt>
                <c:pt idx="62">
                  <c:v>489</c:v>
                </c:pt>
                <c:pt idx="63">
                  <c:v>512</c:v>
                </c:pt>
                <c:pt idx="64">
                  <c:v>406</c:v>
                </c:pt>
                <c:pt idx="65">
                  <c:v>330</c:v>
                </c:pt>
                <c:pt idx="66">
                  <c:v>387</c:v>
                </c:pt>
                <c:pt idx="67">
                  <c:v>87</c:v>
                </c:pt>
                <c:pt idx="68">
                  <c:v>83</c:v>
                </c:pt>
                <c:pt idx="69">
                  <c:v>382</c:v>
                </c:pt>
                <c:pt idx="70">
                  <c:v>490</c:v>
                </c:pt>
                <c:pt idx="71">
                  <c:v>411</c:v>
                </c:pt>
                <c:pt idx="72">
                  <c:v>374</c:v>
                </c:pt>
                <c:pt idx="73">
                  <c:v>410</c:v>
                </c:pt>
                <c:pt idx="74">
                  <c:v>98</c:v>
                </c:pt>
                <c:pt idx="75">
                  <c:v>99</c:v>
                </c:pt>
                <c:pt idx="76">
                  <c:v>558</c:v>
                </c:pt>
                <c:pt idx="77">
                  <c:v>498</c:v>
                </c:pt>
                <c:pt idx="78">
                  <c:v>438</c:v>
                </c:pt>
                <c:pt idx="79">
                  <c:v>442</c:v>
                </c:pt>
                <c:pt idx="80">
                  <c:v>332</c:v>
                </c:pt>
                <c:pt idx="81">
                  <c:v>435</c:v>
                </c:pt>
                <c:pt idx="82">
                  <c:v>37</c:v>
                </c:pt>
                <c:pt idx="83">
                  <c:v>634</c:v>
                </c:pt>
                <c:pt idx="84">
                  <c:v>661</c:v>
                </c:pt>
                <c:pt idx="85">
                  <c:v>597</c:v>
                </c:pt>
                <c:pt idx="86">
                  <c:v>395</c:v>
                </c:pt>
                <c:pt idx="87">
                  <c:v>886</c:v>
                </c:pt>
                <c:pt idx="88">
                  <c:v>190</c:v>
                </c:pt>
                <c:pt idx="89">
                  <c:v>51</c:v>
                </c:pt>
                <c:pt idx="90">
                  <c:v>712</c:v>
                </c:pt>
                <c:pt idx="91">
                  <c:v>771</c:v>
                </c:pt>
                <c:pt idx="92">
                  <c:v>676</c:v>
                </c:pt>
                <c:pt idx="93">
                  <c:v>654</c:v>
                </c:pt>
                <c:pt idx="94">
                  <c:v>553</c:v>
                </c:pt>
                <c:pt idx="95">
                  <c:v>446</c:v>
                </c:pt>
                <c:pt idx="96">
                  <c:v>161</c:v>
                </c:pt>
                <c:pt idx="97">
                  <c:v>613</c:v>
                </c:pt>
                <c:pt idx="98">
                  <c:v>770</c:v>
                </c:pt>
                <c:pt idx="99">
                  <c:v>756</c:v>
                </c:pt>
                <c:pt idx="100">
                  <c:v>659</c:v>
                </c:pt>
                <c:pt idx="101">
                  <c:v>832</c:v>
                </c:pt>
                <c:pt idx="102">
                  <c:v>190</c:v>
                </c:pt>
                <c:pt idx="103">
                  <c:v>150</c:v>
                </c:pt>
                <c:pt idx="104">
                  <c:v>675</c:v>
                </c:pt>
                <c:pt idx="105">
                  <c:v>684</c:v>
                </c:pt>
                <c:pt idx="106">
                  <c:v>706</c:v>
                </c:pt>
                <c:pt idx="107">
                  <c:v>615</c:v>
                </c:pt>
                <c:pt idx="108">
                  <c:v>655</c:v>
                </c:pt>
                <c:pt idx="109">
                  <c:v>122</c:v>
                </c:pt>
                <c:pt idx="110">
                  <c:v>143</c:v>
                </c:pt>
                <c:pt idx="111">
                  <c:v>570</c:v>
                </c:pt>
                <c:pt idx="112">
                  <c:v>622</c:v>
                </c:pt>
                <c:pt idx="113">
                  <c:v>557</c:v>
                </c:pt>
                <c:pt idx="114">
                  <c:v>365</c:v>
                </c:pt>
                <c:pt idx="115">
                  <c:v>339</c:v>
                </c:pt>
                <c:pt idx="116">
                  <c:v>146</c:v>
                </c:pt>
                <c:pt idx="117">
                  <c:v>73</c:v>
                </c:pt>
                <c:pt idx="118">
                  <c:v>734</c:v>
                </c:pt>
                <c:pt idx="119">
                  <c:v>434</c:v>
                </c:pt>
                <c:pt idx="120">
                  <c:v>456</c:v>
                </c:pt>
                <c:pt idx="121">
                  <c:v>438</c:v>
                </c:pt>
                <c:pt idx="122">
                  <c:v>225</c:v>
                </c:pt>
                <c:pt idx="123">
                  <c:v>24</c:v>
                </c:pt>
                <c:pt idx="124">
                  <c:v>80</c:v>
                </c:pt>
                <c:pt idx="125">
                  <c:v>28</c:v>
                </c:pt>
                <c:pt idx="126">
                  <c:v>464</c:v>
                </c:pt>
                <c:pt idx="127">
                  <c:v>418</c:v>
                </c:pt>
                <c:pt idx="128">
                  <c:v>492</c:v>
                </c:pt>
                <c:pt idx="129">
                  <c:v>384</c:v>
                </c:pt>
                <c:pt idx="130">
                  <c:v>63</c:v>
                </c:pt>
                <c:pt idx="131">
                  <c:v>31</c:v>
                </c:pt>
                <c:pt idx="132">
                  <c:v>406</c:v>
                </c:pt>
                <c:pt idx="133">
                  <c:v>325</c:v>
                </c:pt>
                <c:pt idx="134">
                  <c:v>342</c:v>
                </c:pt>
                <c:pt idx="135">
                  <c:v>187</c:v>
                </c:pt>
                <c:pt idx="136">
                  <c:v>259</c:v>
                </c:pt>
                <c:pt idx="137">
                  <c:v>47</c:v>
                </c:pt>
                <c:pt idx="138">
                  <c:v>46</c:v>
                </c:pt>
                <c:pt idx="139">
                  <c:v>316</c:v>
                </c:pt>
                <c:pt idx="140">
                  <c:v>282</c:v>
                </c:pt>
                <c:pt idx="141">
                  <c:v>219</c:v>
                </c:pt>
                <c:pt idx="142">
                  <c:v>162</c:v>
                </c:pt>
                <c:pt idx="143">
                  <c:v>252</c:v>
                </c:pt>
                <c:pt idx="144">
                  <c:v>49</c:v>
                </c:pt>
                <c:pt idx="145">
                  <c:v>25</c:v>
                </c:pt>
                <c:pt idx="146">
                  <c:v>239</c:v>
                </c:pt>
                <c:pt idx="147">
                  <c:v>222</c:v>
                </c:pt>
                <c:pt idx="148">
                  <c:v>196</c:v>
                </c:pt>
                <c:pt idx="149">
                  <c:v>141</c:v>
                </c:pt>
                <c:pt idx="150">
                  <c:v>127</c:v>
                </c:pt>
                <c:pt idx="151">
                  <c:v>32</c:v>
                </c:pt>
                <c:pt idx="152">
                  <c:v>39</c:v>
                </c:pt>
                <c:pt idx="153">
                  <c:v>178</c:v>
                </c:pt>
                <c:pt idx="154">
                  <c:v>109</c:v>
                </c:pt>
                <c:pt idx="155">
                  <c:v>117</c:v>
                </c:pt>
                <c:pt idx="156">
                  <c:v>73</c:v>
                </c:pt>
                <c:pt idx="157">
                  <c:v>73</c:v>
                </c:pt>
                <c:pt idx="158">
                  <c:v>6</c:v>
                </c:pt>
                <c:pt idx="159">
                  <c:v>29</c:v>
                </c:pt>
                <c:pt idx="160">
                  <c:v>139</c:v>
                </c:pt>
                <c:pt idx="161">
                  <c:v>97</c:v>
                </c:pt>
                <c:pt idx="162">
                  <c:v>89</c:v>
                </c:pt>
                <c:pt idx="163">
                  <c:v>63</c:v>
                </c:pt>
                <c:pt idx="164">
                  <c:v>59</c:v>
                </c:pt>
                <c:pt idx="165">
                  <c:v>20</c:v>
                </c:pt>
                <c:pt idx="166">
                  <c:v>21</c:v>
                </c:pt>
                <c:pt idx="167">
                  <c:v>102</c:v>
                </c:pt>
                <c:pt idx="168">
                  <c:v>87</c:v>
                </c:pt>
                <c:pt idx="169">
                  <c:v>82</c:v>
                </c:pt>
                <c:pt idx="170">
                  <c:v>54</c:v>
                </c:pt>
                <c:pt idx="171">
                  <c:v>47</c:v>
                </c:pt>
                <c:pt idx="172">
                  <c:v>13</c:v>
                </c:pt>
                <c:pt idx="173">
                  <c:v>27</c:v>
                </c:pt>
                <c:pt idx="174">
                  <c:v>59</c:v>
                </c:pt>
                <c:pt idx="175">
                  <c:v>60</c:v>
                </c:pt>
                <c:pt idx="176">
                  <c:v>62</c:v>
                </c:pt>
                <c:pt idx="177">
                  <c:v>36</c:v>
                </c:pt>
                <c:pt idx="178">
                  <c:v>22</c:v>
                </c:pt>
                <c:pt idx="179">
                  <c:v>21</c:v>
                </c:pt>
                <c:pt idx="180">
                  <c:v>12</c:v>
                </c:pt>
                <c:pt idx="181">
                  <c:v>39</c:v>
                </c:pt>
                <c:pt idx="182">
                  <c:v>25</c:v>
                </c:pt>
                <c:pt idx="183">
                  <c:v>19</c:v>
                </c:pt>
                <c:pt idx="184">
                  <c:v>19</c:v>
                </c:pt>
                <c:pt idx="185">
                  <c:v>12</c:v>
                </c:pt>
                <c:pt idx="186">
                  <c:v>10</c:v>
                </c:pt>
                <c:pt idx="187">
                  <c:v>6</c:v>
                </c:pt>
                <c:pt idx="188">
                  <c:v>16</c:v>
                </c:pt>
                <c:pt idx="189">
                  <c:v>21</c:v>
                </c:pt>
                <c:pt idx="190">
                  <c:v>14</c:v>
                </c:pt>
                <c:pt idx="191">
                  <c:v>6</c:v>
                </c:pt>
                <c:pt idx="192">
                  <c:v>13</c:v>
                </c:pt>
                <c:pt idx="193">
                  <c:v>1</c:v>
                </c:pt>
                <c:pt idx="194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1B9-4B73-AA5C-C7B14DD7C0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1B9-4B73-AA5C-C7B14DD7C02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361</c:v>
                </c:pt>
                <c:pt idx="122">
                  <c:v>351</c:v>
                </c:pt>
                <c:pt idx="123">
                  <c:v>342</c:v>
                </c:pt>
                <c:pt idx="124">
                  <c:v>332</c:v>
                </c:pt>
                <c:pt idx="125">
                  <c:v>323</c:v>
                </c:pt>
                <c:pt idx="126">
                  <c:v>314</c:v>
                </c:pt>
                <c:pt idx="127">
                  <c:v>305</c:v>
                </c:pt>
                <c:pt idx="128">
                  <c:v>296</c:v>
                </c:pt>
                <c:pt idx="129">
                  <c:v>287</c:v>
                </c:pt>
                <c:pt idx="130">
                  <c:v>279</c:v>
                </c:pt>
                <c:pt idx="131">
                  <c:v>271</c:v>
                </c:pt>
                <c:pt idx="132">
                  <c:v>263</c:v>
                </c:pt>
                <c:pt idx="133">
                  <c:v>256</c:v>
                </c:pt>
                <c:pt idx="134">
                  <c:v>248</c:v>
                </c:pt>
                <c:pt idx="135">
                  <c:v>241</c:v>
                </c:pt>
                <c:pt idx="136">
                  <c:v>234</c:v>
                </c:pt>
                <c:pt idx="137">
                  <c:v>227</c:v>
                </c:pt>
                <c:pt idx="138">
                  <c:v>220</c:v>
                </c:pt>
                <c:pt idx="139">
                  <c:v>213</c:v>
                </c:pt>
                <c:pt idx="140">
                  <c:v>207</c:v>
                </c:pt>
                <c:pt idx="141">
                  <c:v>200</c:v>
                </c:pt>
                <c:pt idx="142">
                  <c:v>194</c:v>
                </c:pt>
                <c:pt idx="143">
                  <c:v>188</c:v>
                </c:pt>
                <c:pt idx="144">
                  <c:v>182</c:v>
                </c:pt>
                <c:pt idx="145">
                  <c:v>176</c:v>
                </c:pt>
                <c:pt idx="146">
                  <c:v>170</c:v>
                </c:pt>
                <c:pt idx="147">
                  <c:v>165</c:v>
                </c:pt>
                <c:pt idx="148">
                  <c:v>159</c:v>
                </c:pt>
                <c:pt idx="149">
                  <c:v>154</c:v>
                </c:pt>
                <c:pt idx="150">
                  <c:v>149</c:v>
                </c:pt>
                <c:pt idx="151">
                  <c:v>144</c:v>
                </c:pt>
                <c:pt idx="152">
                  <c:v>139</c:v>
                </c:pt>
                <c:pt idx="153">
                  <c:v>134</c:v>
                </c:pt>
                <c:pt idx="154">
                  <c:v>129</c:v>
                </c:pt>
                <c:pt idx="155">
                  <c:v>124</c:v>
                </c:pt>
                <c:pt idx="156">
                  <c:v>120</c:v>
                </c:pt>
                <c:pt idx="157">
                  <c:v>116</c:v>
                </c:pt>
                <c:pt idx="158">
                  <c:v>111</c:v>
                </c:pt>
                <c:pt idx="159">
                  <c:v>107</c:v>
                </c:pt>
                <c:pt idx="160">
                  <c:v>103</c:v>
                </c:pt>
                <c:pt idx="161">
                  <c:v>99</c:v>
                </c:pt>
                <c:pt idx="162">
                  <c:v>95</c:v>
                </c:pt>
                <c:pt idx="163">
                  <c:v>91</c:v>
                </c:pt>
                <c:pt idx="164">
                  <c:v>88</c:v>
                </c:pt>
                <c:pt idx="165">
                  <c:v>84</c:v>
                </c:pt>
                <c:pt idx="166">
                  <c:v>81</c:v>
                </c:pt>
                <c:pt idx="167">
                  <c:v>77</c:v>
                </c:pt>
                <c:pt idx="168">
                  <c:v>74</c:v>
                </c:pt>
                <c:pt idx="169">
                  <c:v>71</c:v>
                </c:pt>
                <c:pt idx="170">
                  <c:v>68</c:v>
                </c:pt>
                <c:pt idx="171">
                  <c:v>65</c:v>
                </c:pt>
                <c:pt idx="172">
                  <c:v>62</c:v>
                </c:pt>
                <c:pt idx="173">
                  <c:v>59</c:v>
                </c:pt>
                <c:pt idx="174">
                  <c:v>56</c:v>
                </c:pt>
                <c:pt idx="175">
                  <c:v>53</c:v>
                </c:pt>
                <c:pt idx="176">
                  <c:v>51</c:v>
                </c:pt>
                <c:pt idx="177">
                  <c:v>48</c:v>
                </c:pt>
                <c:pt idx="178">
                  <c:v>45</c:v>
                </c:pt>
                <c:pt idx="179">
                  <c:v>43</c:v>
                </c:pt>
                <c:pt idx="180">
                  <c:v>41</c:v>
                </c:pt>
                <c:pt idx="181">
                  <c:v>38</c:v>
                </c:pt>
                <c:pt idx="182">
                  <c:v>36</c:v>
                </c:pt>
                <c:pt idx="183">
                  <c:v>34</c:v>
                </c:pt>
                <c:pt idx="184">
                  <c:v>32</c:v>
                </c:pt>
                <c:pt idx="185">
                  <c:v>30</c:v>
                </c:pt>
                <c:pt idx="186">
                  <c:v>28</c:v>
                </c:pt>
                <c:pt idx="187">
                  <c:v>27</c:v>
                </c:pt>
                <c:pt idx="188">
                  <c:v>25</c:v>
                </c:pt>
                <c:pt idx="189">
                  <c:v>24</c:v>
                </c:pt>
                <c:pt idx="190">
                  <c:v>22</c:v>
                </c:pt>
                <c:pt idx="191">
                  <c:v>21</c:v>
                </c:pt>
                <c:pt idx="192">
                  <c:v>20</c:v>
                </c:pt>
                <c:pt idx="193">
                  <c:v>19</c:v>
                </c:pt>
                <c:pt idx="194">
                  <c:v>18</c:v>
                </c:pt>
                <c:pt idx="195">
                  <c:v>17</c:v>
                </c:pt>
                <c:pt idx="196">
                  <c:v>16</c:v>
                </c:pt>
                <c:pt idx="197">
                  <c:v>15</c:v>
                </c:pt>
                <c:pt idx="198">
                  <c:v>14</c:v>
                </c:pt>
                <c:pt idx="199">
                  <c:v>13</c:v>
                </c:pt>
                <c:pt idx="200">
                  <c:v>12</c:v>
                </c:pt>
                <c:pt idx="201">
                  <c:v>11</c:v>
                </c:pt>
                <c:pt idx="202">
                  <c:v>11</c:v>
                </c:pt>
                <c:pt idx="203">
                  <c:v>10</c:v>
                </c:pt>
                <c:pt idx="204">
                  <c:v>9</c:v>
                </c:pt>
                <c:pt idx="205">
                  <c:v>9</c:v>
                </c:pt>
                <c:pt idx="206">
                  <c:v>8</c:v>
                </c:pt>
                <c:pt idx="207">
                  <c:v>7</c:v>
                </c:pt>
                <c:pt idx="208">
                  <c:v>7</c:v>
                </c:pt>
                <c:pt idx="209">
                  <c:v>6</c:v>
                </c:pt>
                <c:pt idx="210">
                  <c:v>6</c:v>
                </c:pt>
                <c:pt idx="211">
                  <c:v>6</c:v>
                </c:pt>
                <c:pt idx="212">
                  <c:v>5</c:v>
                </c:pt>
                <c:pt idx="213">
                  <c:v>5</c:v>
                </c:pt>
                <c:pt idx="214">
                  <c:v>4</c:v>
                </c:pt>
                <c:pt idx="215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1B9-4B73-AA5C-C7B14DD7C02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361</c:v>
                </c:pt>
                <c:pt idx="122">
                  <c:v>351</c:v>
                </c:pt>
                <c:pt idx="123">
                  <c:v>342</c:v>
                </c:pt>
                <c:pt idx="124">
                  <c:v>332</c:v>
                </c:pt>
                <c:pt idx="125">
                  <c:v>323</c:v>
                </c:pt>
                <c:pt idx="126">
                  <c:v>314</c:v>
                </c:pt>
                <c:pt idx="127">
                  <c:v>305</c:v>
                </c:pt>
                <c:pt idx="128">
                  <c:v>296</c:v>
                </c:pt>
                <c:pt idx="129">
                  <c:v>287</c:v>
                </c:pt>
                <c:pt idx="130">
                  <c:v>279</c:v>
                </c:pt>
                <c:pt idx="131">
                  <c:v>271</c:v>
                </c:pt>
                <c:pt idx="132">
                  <c:v>263</c:v>
                </c:pt>
                <c:pt idx="133">
                  <c:v>256</c:v>
                </c:pt>
                <c:pt idx="134">
                  <c:v>248</c:v>
                </c:pt>
                <c:pt idx="135">
                  <c:v>241</c:v>
                </c:pt>
                <c:pt idx="136">
                  <c:v>234</c:v>
                </c:pt>
                <c:pt idx="137">
                  <c:v>227</c:v>
                </c:pt>
                <c:pt idx="138">
                  <c:v>220</c:v>
                </c:pt>
                <c:pt idx="139">
                  <c:v>213</c:v>
                </c:pt>
                <c:pt idx="140">
                  <c:v>207</c:v>
                </c:pt>
                <c:pt idx="141">
                  <c:v>200</c:v>
                </c:pt>
                <c:pt idx="142">
                  <c:v>194</c:v>
                </c:pt>
                <c:pt idx="143">
                  <c:v>188</c:v>
                </c:pt>
                <c:pt idx="144">
                  <c:v>182</c:v>
                </c:pt>
                <c:pt idx="145">
                  <c:v>176</c:v>
                </c:pt>
                <c:pt idx="146">
                  <c:v>170</c:v>
                </c:pt>
                <c:pt idx="147">
                  <c:v>165</c:v>
                </c:pt>
                <c:pt idx="148">
                  <c:v>159</c:v>
                </c:pt>
                <c:pt idx="149">
                  <c:v>154</c:v>
                </c:pt>
                <c:pt idx="150">
                  <c:v>149</c:v>
                </c:pt>
                <c:pt idx="151">
                  <c:v>144</c:v>
                </c:pt>
                <c:pt idx="152">
                  <c:v>139</c:v>
                </c:pt>
                <c:pt idx="153">
                  <c:v>134</c:v>
                </c:pt>
                <c:pt idx="154">
                  <c:v>129</c:v>
                </c:pt>
                <c:pt idx="155">
                  <c:v>124</c:v>
                </c:pt>
                <c:pt idx="156">
                  <c:v>120</c:v>
                </c:pt>
                <c:pt idx="157">
                  <c:v>116</c:v>
                </c:pt>
                <c:pt idx="158">
                  <c:v>111</c:v>
                </c:pt>
                <c:pt idx="159">
                  <c:v>107</c:v>
                </c:pt>
                <c:pt idx="160">
                  <c:v>103</c:v>
                </c:pt>
                <c:pt idx="161">
                  <c:v>99</c:v>
                </c:pt>
                <c:pt idx="162">
                  <c:v>95</c:v>
                </c:pt>
                <c:pt idx="163">
                  <c:v>91</c:v>
                </c:pt>
                <c:pt idx="164">
                  <c:v>88</c:v>
                </c:pt>
                <c:pt idx="165">
                  <c:v>84</c:v>
                </c:pt>
                <c:pt idx="166">
                  <c:v>81</c:v>
                </c:pt>
                <c:pt idx="167">
                  <c:v>77</c:v>
                </c:pt>
                <c:pt idx="168">
                  <c:v>76</c:v>
                </c:pt>
                <c:pt idx="169">
                  <c:v>75</c:v>
                </c:pt>
                <c:pt idx="170">
                  <c:v>75</c:v>
                </c:pt>
                <c:pt idx="171">
                  <c:v>75</c:v>
                </c:pt>
                <c:pt idx="172">
                  <c:v>74</c:v>
                </c:pt>
                <c:pt idx="173">
                  <c:v>74</c:v>
                </c:pt>
                <c:pt idx="174">
                  <c:v>74</c:v>
                </c:pt>
                <c:pt idx="175">
                  <c:v>75</c:v>
                </c:pt>
                <c:pt idx="176">
                  <c:v>77</c:v>
                </c:pt>
                <c:pt idx="177">
                  <c:v>78</c:v>
                </c:pt>
                <c:pt idx="178">
                  <c:v>80</c:v>
                </c:pt>
                <c:pt idx="179">
                  <c:v>82</c:v>
                </c:pt>
                <c:pt idx="180">
                  <c:v>84</c:v>
                </c:pt>
                <c:pt idx="181">
                  <c:v>86</c:v>
                </c:pt>
                <c:pt idx="182">
                  <c:v>89</c:v>
                </c:pt>
                <c:pt idx="183">
                  <c:v>91</c:v>
                </c:pt>
                <c:pt idx="184">
                  <c:v>93</c:v>
                </c:pt>
                <c:pt idx="185">
                  <c:v>95</c:v>
                </c:pt>
                <c:pt idx="186">
                  <c:v>97</c:v>
                </c:pt>
                <c:pt idx="187">
                  <c:v>99</c:v>
                </c:pt>
                <c:pt idx="188">
                  <c:v>101</c:v>
                </c:pt>
                <c:pt idx="189">
                  <c:v>104</c:v>
                </c:pt>
                <c:pt idx="190">
                  <c:v>106</c:v>
                </c:pt>
                <c:pt idx="191">
                  <c:v>109</c:v>
                </c:pt>
                <c:pt idx="192">
                  <c:v>111</c:v>
                </c:pt>
                <c:pt idx="193">
                  <c:v>113</c:v>
                </c:pt>
                <c:pt idx="194">
                  <c:v>116</c:v>
                </c:pt>
                <c:pt idx="195">
                  <c:v>118</c:v>
                </c:pt>
                <c:pt idx="196">
                  <c:v>120</c:v>
                </c:pt>
                <c:pt idx="197">
                  <c:v>122</c:v>
                </c:pt>
                <c:pt idx="198">
                  <c:v>124</c:v>
                </c:pt>
                <c:pt idx="199">
                  <c:v>126</c:v>
                </c:pt>
                <c:pt idx="200">
                  <c:v>127</c:v>
                </c:pt>
                <c:pt idx="201">
                  <c:v>129</c:v>
                </c:pt>
                <c:pt idx="202">
                  <c:v>130</c:v>
                </c:pt>
                <c:pt idx="203">
                  <c:v>131</c:v>
                </c:pt>
                <c:pt idx="204">
                  <c:v>132</c:v>
                </c:pt>
                <c:pt idx="205">
                  <c:v>132</c:v>
                </c:pt>
                <c:pt idx="206">
                  <c:v>133</c:v>
                </c:pt>
                <c:pt idx="207">
                  <c:v>133</c:v>
                </c:pt>
                <c:pt idx="208">
                  <c:v>133</c:v>
                </c:pt>
                <c:pt idx="209">
                  <c:v>133</c:v>
                </c:pt>
                <c:pt idx="210">
                  <c:v>133</c:v>
                </c:pt>
                <c:pt idx="211">
                  <c:v>132</c:v>
                </c:pt>
                <c:pt idx="212">
                  <c:v>131</c:v>
                </c:pt>
                <c:pt idx="213">
                  <c:v>131</c:v>
                </c:pt>
                <c:pt idx="214">
                  <c:v>129</c:v>
                </c:pt>
                <c:pt idx="215">
                  <c:v>1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1B9-4B73-AA5C-C7B14DD7C02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1B9-4B73-AA5C-C7B14DD7C022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1B9-4B73-AA5C-C7B14DD7C0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6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331</c:v>
                </c:pt>
                <c:pt idx="1">
                  <c:v>306</c:v>
                </c:pt>
                <c:pt idx="2">
                  <c:v>210</c:v>
                </c:pt>
                <c:pt idx="3">
                  <c:v>301</c:v>
                </c:pt>
                <c:pt idx="4">
                  <c:v>275</c:v>
                </c:pt>
                <c:pt idx="5">
                  <c:v>97</c:v>
                </c:pt>
                <c:pt idx="6">
                  <c:v>277</c:v>
                </c:pt>
                <c:pt idx="7">
                  <c:v>431</c:v>
                </c:pt>
                <c:pt idx="8">
                  <c:v>381</c:v>
                </c:pt>
                <c:pt idx="9">
                  <c:v>376</c:v>
                </c:pt>
                <c:pt idx="10">
                  <c:v>481</c:v>
                </c:pt>
                <c:pt idx="11">
                  <c:v>278</c:v>
                </c:pt>
                <c:pt idx="12">
                  <c:v>224</c:v>
                </c:pt>
                <c:pt idx="13">
                  <c:v>283</c:v>
                </c:pt>
                <c:pt idx="14">
                  <c:v>650</c:v>
                </c:pt>
                <c:pt idx="15">
                  <c:v>573</c:v>
                </c:pt>
                <c:pt idx="16">
                  <c:v>464</c:v>
                </c:pt>
                <c:pt idx="17">
                  <c:v>550</c:v>
                </c:pt>
                <c:pt idx="18">
                  <c:v>382</c:v>
                </c:pt>
                <c:pt idx="19">
                  <c:v>302</c:v>
                </c:pt>
                <c:pt idx="20">
                  <c:v>433</c:v>
                </c:pt>
                <c:pt idx="21">
                  <c:v>714</c:v>
                </c:pt>
                <c:pt idx="22">
                  <c:v>879</c:v>
                </c:pt>
                <c:pt idx="23">
                  <c:v>251</c:v>
                </c:pt>
                <c:pt idx="24">
                  <c:v>259</c:v>
                </c:pt>
                <c:pt idx="25">
                  <c:v>301</c:v>
                </c:pt>
                <c:pt idx="26">
                  <c:v>255</c:v>
                </c:pt>
                <c:pt idx="27">
                  <c:v>502</c:v>
                </c:pt>
                <c:pt idx="28">
                  <c:v>1047</c:v>
                </c:pt>
                <c:pt idx="29">
                  <c:v>1082</c:v>
                </c:pt>
                <c:pt idx="30">
                  <c:v>850</c:v>
                </c:pt>
                <c:pt idx="31">
                  <c:v>288</c:v>
                </c:pt>
                <c:pt idx="32">
                  <c:v>384</c:v>
                </c:pt>
                <c:pt idx="33">
                  <c:v>349</c:v>
                </c:pt>
                <c:pt idx="34">
                  <c:v>743</c:v>
                </c:pt>
                <c:pt idx="35">
                  <c:v>1258</c:v>
                </c:pt>
                <c:pt idx="36">
                  <c:v>932</c:v>
                </c:pt>
                <c:pt idx="37">
                  <c:v>1028</c:v>
                </c:pt>
                <c:pt idx="38">
                  <c:v>824</c:v>
                </c:pt>
                <c:pt idx="39">
                  <c:v>453</c:v>
                </c:pt>
                <c:pt idx="40">
                  <c:v>329</c:v>
                </c:pt>
                <c:pt idx="41">
                  <c:v>496</c:v>
                </c:pt>
                <c:pt idx="42">
                  <c:v>732</c:v>
                </c:pt>
                <c:pt idx="43">
                  <c:v>594</c:v>
                </c:pt>
                <c:pt idx="44">
                  <c:v>390</c:v>
                </c:pt>
                <c:pt idx="45">
                  <c:v>484</c:v>
                </c:pt>
                <c:pt idx="46">
                  <c:v>313</c:v>
                </c:pt>
                <c:pt idx="47">
                  <c:v>130</c:v>
                </c:pt>
                <c:pt idx="48">
                  <c:v>280</c:v>
                </c:pt>
                <c:pt idx="49">
                  <c:v>502</c:v>
                </c:pt>
                <c:pt idx="50">
                  <c:v>461</c:v>
                </c:pt>
                <c:pt idx="51">
                  <c:v>220</c:v>
                </c:pt>
                <c:pt idx="52">
                  <c:v>444</c:v>
                </c:pt>
                <c:pt idx="53">
                  <c:v>226</c:v>
                </c:pt>
                <c:pt idx="54">
                  <c:v>130</c:v>
                </c:pt>
                <c:pt idx="55">
                  <c:v>299</c:v>
                </c:pt>
                <c:pt idx="56">
                  <c:v>390</c:v>
                </c:pt>
                <c:pt idx="57">
                  <c:v>331</c:v>
                </c:pt>
                <c:pt idx="58">
                  <c:v>216</c:v>
                </c:pt>
                <c:pt idx="59">
                  <c:v>265</c:v>
                </c:pt>
                <c:pt idx="60">
                  <c:v>207</c:v>
                </c:pt>
                <c:pt idx="61">
                  <c:v>86</c:v>
                </c:pt>
                <c:pt idx="62">
                  <c:v>241</c:v>
                </c:pt>
                <c:pt idx="63">
                  <c:v>275</c:v>
                </c:pt>
                <c:pt idx="64">
                  <c:v>250</c:v>
                </c:pt>
                <c:pt idx="65">
                  <c:v>295</c:v>
                </c:pt>
                <c:pt idx="66">
                  <c:v>230</c:v>
                </c:pt>
                <c:pt idx="67">
                  <c:v>177</c:v>
                </c:pt>
                <c:pt idx="68">
                  <c:v>61</c:v>
                </c:pt>
                <c:pt idx="69">
                  <c:v>140</c:v>
                </c:pt>
                <c:pt idx="70">
                  <c:v>274</c:v>
                </c:pt>
                <c:pt idx="71">
                  <c:v>246</c:v>
                </c:pt>
                <c:pt idx="72">
                  <c:v>187</c:v>
                </c:pt>
                <c:pt idx="73">
                  <c:v>227</c:v>
                </c:pt>
                <c:pt idx="74">
                  <c:v>133</c:v>
                </c:pt>
                <c:pt idx="75">
                  <c:v>72</c:v>
                </c:pt>
                <c:pt idx="76">
                  <c:v>215</c:v>
                </c:pt>
                <c:pt idx="77">
                  <c:v>300</c:v>
                </c:pt>
                <c:pt idx="78">
                  <c:v>240</c:v>
                </c:pt>
                <c:pt idx="79">
                  <c:v>314</c:v>
                </c:pt>
                <c:pt idx="80">
                  <c:v>272</c:v>
                </c:pt>
                <c:pt idx="81">
                  <c:v>223</c:v>
                </c:pt>
                <c:pt idx="82">
                  <c:v>127</c:v>
                </c:pt>
                <c:pt idx="83">
                  <c:v>250</c:v>
                </c:pt>
                <c:pt idx="84">
                  <c:v>429</c:v>
                </c:pt>
                <c:pt idx="85">
                  <c:v>403</c:v>
                </c:pt>
                <c:pt idx="86">
                  <c:v>374</c:v>
                </c:pt>
                <c:pt idx="87">
                  <c:v>370</c:v>
                </c:pt>
                <c:pt idx="88">
                  <c:v>328</c:v>
                </c:pt>
                <c:pt idx="89">
                  <c:v>106</c:v>
                </c:pt>
                <c:pt idx="90">
                  <c:v>321</c:v>
                </c:pt>
                <c:pt idx="91">
                  <c:v>464</c:v>
                </c:pt>
                <c:pt idx="92">
                  <c:v>473</c:v>
                </c:pt>
                <c:pt idx="93">
                  <c:v>380</c:v>
                </c:pt>
                <c:pt idx="94">
                  <c:v>308</c:v>
                </c:pt>
                <c:pt idx="95">
                  <c:v>409</c:v>
                </c:pt>
                <c:pt idx="96">
                  <c:v>166</c:v>
                </c:pt>
                <c:pt idx="97">
                  <c:v>302</c:v>
                </c:pt>
                <c:pt idx="98">
                  <c:v>453</c:v>
                </c:pt>
                <c:pt idx="99">
                  <c:v>497</c:v>
                </c:pt>
                <c:pt idx="100">
                  <c:v>361</c:v>
                </c:pt>
                <c:pt idx="101">
                  <c:v>548</c:v>
                </c:pt>
                <c:pt idx="102">
                  <c:v>380</c:v>
                </c:pt>
                <c:pt idx="103">
                  <c:v>105</c:v>
                </c:pt>
                <c:pt idx="104">
                  <c:v>308</c:v>
                </c:pt>
                <c:pt idx="105">
                  <c:v>545</c:v>
                </c:pt>
                <c:pt idx="106">
                  <c:v>466</c:v>
                </c:pt>
                <c:pt idx="107">
                  <c:v>394</c:v>
                </c:pt>
                <c:pt idx="108">
                  <c:v>331</c:v>
                </c:pt>
                <c:pt idx="109">
                  <c:v>280</c:v>
                </c:pt>
                <c:pt idx="110">
                  <c:v>122</c:v>
                </c:pt>
                <c:pt idx="111">
                  <c:v>236</c:v>
                </c:pt>
                <c:pt idx="112">
                  <c:v>510</c:v>
                </c:pt>
                <c:pt idx="113">
                  <c:v>428</c:v>
                </c:pt>
                <c:pt idx="114">
                  <c:v>371</c:v>
                </c:pt>
                <c:pt idx="115">
                  <c:v>342</c:v>
                </c:pt>
                <c:pt idx="116">
                  <c:v>299</c:v>
                </c:pt>
                <c:pt idx="117">
                  <c:v>138</c:v>
                </c:pt>
                <c:pt idx="118">
                  <c:v>268</c:v>
                </c:pt>
                <c:pt idx="119">
                  <c:v>543</c:v>
                </c:pt>
                <c:pt idx="120">
                  <c:v>395</c:v>
                </c:pt>
                <c:pt idx="121">
                  <c:v>502</c:v>
                </c:pt>
                <c:pt idx="122">
                  <c:v>257</c:v>
                </c:pt>
                <c:pt idx="123">
                  <c:v>176</c:v>
                </c:pt>
                <c:pt idx="124">
                  <c:v>151</c:v>
                </c:pt>
                <c:pt idx="125">
                  <c:v>103</c:v>
                </c:pt>
                <c:pt idx="126">
                  <c:v>178</c:v>
                </c:pt>
                <c:pt idx="127">
                  <c:v>502</c:v>
                </c:pt>
                <c:pt idx="128">
                  <c:v>400</c:v>
                </c:pt>
                <c:pt idx="129">
                  <c:v>303</c:v>
                </c:pt>
                <c:pt idx="130">
                  <c:v>235</c:v>
                </c:pt>
                <c:pt idx="131">
                  <c:v>87</c:v>
                </c:pt>
                <c:pt idx="132">
                  <c:v>188</c:v>
                </c:pt>
                <c:pt idx="133">
                  <c:v>399</c:v>
                </c:pt>
                <c:pt idx="134">
                  <c:v>270</c:v>
                </c:pt>
                <c:pt idx="135">
                  <c:v>263</c:v>
                </c:pt>
                <c:pt idx="136">
                  <c:v>255</c:v>
                </c:pt>
                <c:pt idx="137">
                  <c:v>191</c:v>
                </c:pt>
                <c:pt idx="138">
                  <c:v>108</c:v>
                </c:pt>
                <c:pt idx="139">
                  <c:v>210</c:v>
                </c:pt>
                <c:pt idx="140">
                  <c:v>276</c:v>
                </c:pt>
                <c:pt idx="141">
                  <c:v>343</c:v>
                </c:pt>
                <c:pt idx="142">
                  <c:v>250</c:v>
                </c:pt>
                <c:pt idx="143">
                  <c:v>226</c:v>
                </c:pt>
                <c:pt idx="144">
                  <c:v>145</c:v>
                </c:pt>
                <c:pt idx="145">
                  <c:v>93</c:v>
                </c:pt>
                <c:pt idx="146">
                  <c:v>168</c:v>
                </c:pt>
                <c:pt idx="147">
                  <c:v>244</c:v>
                </c:pt>
                <c:pt idx="148">
                  <c:v>231</c:v>
                </c:pt>
                <c:pt idx="149">
                  <c:v>196</c:v>
                </c:pt>
                <c:pt idx="150">
                  <c:v>149</c:v>
                </c:pt>
                <c:pt idx="151">
                  <c:v>175</c:v>
                </c:pt>
                <c:pt idx="152">
                  <c:v>11</c:v>
                </c:pt>
                <c:pt idx="153">
                  <c:v>159</c:v>
                </c:pt>
                <c:pt idx="154">
                  <c:v>194</c:v>
                </c:pt>
                <c:pt idx="155">
                  <c:v>166</c:v>
                </c:pt>
                <c:pt idx="156">
                  <c:v>133</c:v>
                </c:pt>
                <c:pt idx="157">
                  <c:v>94</c:v>
                </c:pt>
                <c:pt idx="158">
                  <c:v>104</c:v>
                </c:pt>
                <c:pt idx="159">
                  <c:v>20</c:v>
                </c:pt>
                <c:pt idx="160">
                  <c:v>100</c:v>
                </c:pt>
                <c:pt idx="161">
                  <c:v>148</c:v>
                </c:pt>
                <c:pt idx="162">
                  <c:v>103</c:v>
                </c:pt>
                <c:pt idx="163">
                  <c:v>119</c:v>
                </c:pt>
                <c:pt idx="164">
                  <c:v>68</c:v>
                </c:pt>
                <c:pt idx="165">
                  <c:v>67</c:v>
                </c:pt>
                <c:pt idx="166">
                  <c:v>7</c:v>
                </c:pt>
                <c:pt idx="167">
                  <c:v>85</c:v>
                </c:pt>
                <c:pt idx="168">
                  <c:v>74</c:v>
                </c:pt>
                <c:pt idx="169">
                  <c:v>51</c:v>
                </c:pt>
                <c:pt idx="170">
                  <c:v>87</c:v>
                </c:pt>
                <c:pt idx="171">
                  <c:v>51</c:v>
                </c:pt>
                <c:pt idx="172">
                  <c:v>48</c:v>
                </c:pt>
                <c:pt idx="173">
                  <c:v>5</c:v>
                </c:pt>
                <c:pt idx="174">
                  <c:v>64</c:v>
                </c:pt>
                <c:pt idx="175">
                  <c:v>66</c:v>
                </c:pt>
                <c:pt idx="176">
                  <c:v>28</c:v>
                </c:pt>
                <c:pt idx="177">
                  <c:v>42</c:v>
                </c:pt>
                <c:pt idx="178">
                  <c:v>46</c:v>
                </c:pt>
                <c:pt idx="179">
                  <c:v>30</c:v>
                </c:pt>
                <c:pt idx="180">
                  <c:v>6</c:v>
                </c:pt>
                <c:pt idx="181">
                  <c:v>35</c:v>
                </c:pt>
                <c:pt idx="182">
                  <c:v>56</c:v>
                </c:pt>
                <c:pt idx="183">
                  <c:v>35</c:v>
                </c:pt>
                <c:pt idx="184">
                  <c:v>22</c:v>
                </c:pt>
                <c:pt idx="185">
                  <c:v>24</c:v>
                </c:pt>
                <c:pt idx="186">
                  <c:v>10</c:v>
                </c:pt>
                <c:pt idx="187">
                  <c:v>0</c:v>
                </c:pt>
                <c:pt idx="188">
                  <c:v>21</c:v>
                </c:pt>
                <c:pt idx="189">
                  <c:v>24</c:v>
                </c:pt>
                <c:pt idx="190">
                  <c:v>18</c:v>
                </c:pt>
                <c:pt idx="191">
                  <c:v>12</c:v>
                </c:pt>
                <c:pt idx="192">
                  <c:v>6</c:v>
                </c:pt>
                <c:pt idx="193">
                  <c:v>7</c:v>
                </c:pt>
                <c:pt idx="19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102-4132-8307-8388D5B42D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102-4132-8307-8388D5B42D2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518</c:v>
                </c:pt>
                <c:pt idx="122">
                  <c:v>503</c:v>
                </c:pt>
                <c:pt idx="123">
                  <c:v>489</c:v>
                </c:pt>
                <c:pt idx="124">
                  <c:v>476</c:v>
                </c:pt>
                <c:pt idx="125">
                  <c:v>462</c:v>
                </c:pt>
                <c:pt idx="126">
                  <c:v>449</c:v>
                </c:pt>
                <c:pt idx="127">
                  <c:v>437</c:v>
                </c:pt>
                <c:pt idx="128">
                  <c:v>424</c:v>
                </c:pt>
                <c:pt idx="129">
                  <c:v>412</c:v>
                </c:pt>
                <c:pt idx="130">
                  <c:v>400</c:v>
                </c:pt>
                <c:pt idx="131">
                  <c:v>388</c:v>
                </c:pt>
                <c:pt idx="132">
                  <c:v>377</c:v>
                </c:pt>
                <c:pt idx="133">
                  <c:v>366</c:v>
                </c:pt>
                <c:pt idx="134">
                  <c:v>355</c:v>
                </c:pt>
                <c:pt idx="135">
                  <c:v>345</c:v>
                </c:pt>
                <c:pt idx="136">
                  <c:v>335</c:v>
                </c:pt>
                <c:pt idx="137">
                  <c:v>325</c:v>
                </c:pt>
                <c:pt idx="138">
                  <c:v>315</c:v>
                </c:pt>
                <c:pt idx="139">
                  <c:v>306</c:v>
                </c:pt>
                <c:pt idx="140">
                  <c:v>296</c:v>
                </c:pt>
                <c:pt idx="141">
                  <c:v>287</c:v>
                </c:pt>
                <c:pt idx="142">
                  <c:v>278</c:v>
                </c:pt>
                <c:pt idx="143">
                  <c:v>269</c:v>
                </c:pt>
                <c:pt idx="144">
                  <c:v>261</c:v>
                </c:pt>
                <c:pt idx="145">
                  <c:v>252</c:v>
                </c:pt>
                <c:pt idx="146">
                  <c:v>244</c:v>
                </c:pt>
                <c:pt idx="147">
                  <c:v>236</c:v>
                </c:pt>
                <c:pt idx="148">
                  <c:v>228</c:v>
                </c:pt>
                <c:pt idx="149">
                  <c:v>221</c:v>
                </c:pt>
                <c:pt idx="150">
                  <c:v>213</c:v>
                </c:pt>
                <c:pt idx="151">
                  <c:v>206</c:v>
                </c:pt>
                <c:pt idx="152">
                  <c:v>199</c:v>
                </c:pt>
                <c:pt idx="153">
                  <c:v>192</c:v>
                </c:pt>
                <c:pt idx="154">
                  <c:v>185</c:v>
                </c:pt>
                <c:pt idx="155">
                  <c:v>178</c:v>
                </c:pt>
                <c:pt idx="156">
                  <c:v>172</c:v>
                </c:pt>
                <c:pt idx="157">
                  <c:v>166</c:v>
                </c:pt>
                <c:pt idx="158">
                  <c:v>159</c:v>
                </c:pt>
                <c:pt idx="159">
                  <c:v>153</c:v>
                </c:pt>
                <c:pt idx="160">
                  <c:v>148</c:v>
                </c:pt>
                <c:pt idx="161">
                  <c:v>142</c:v>
                </c:pt>
                <c:pt idx="162">
                  <c:v>136</c:v>
                </c:pt>
                <c:pt idx="163">
                  <c:v>131</c:v>
                </c:pt>
                <c:pt idx="164">
                  <c:v>126</c:v>
                </c:pt>
                <c:pt idx="165">
                  <c:v>121</c:v>
                </c:pt>
                <c:pt idx="166">
                  <c:v>116</c:v>
                </c:pt>
                <c:pt idx="167">
                  <c:v>111</c:v>
                </c:pt>
                <c:pt idx="168">
                  <c:v>106</c:v>
                </c:pt>
                <c:pt idx="169">
                  <c:v>102</c:v>
                </c:pt>
                <c:pt idx="170">
                  <c:v>97</c:v>
                </c:pt>
                <c:pt idx="171">
                  <c:v>93</c:v>
                </c:pt>
                <c:pt idx="172">
                  <c:v>89</c:v>
                </c:pt>
                <c:pt idx="173">
                  <c:v>84</c:v>
                </c:pt>
                <c:pt idx="174">
                  <c:v>80</c:v>
                </c:pt>
                <c:pt idx="175">
                  <c:v>76</c:v>
                </c:pt>
                <c:pt idx="176">
                  <c:v>72</c:v>
                </c:pt>
                <c:pt idx="177">
                  <c:v>69</c:v>
                </c:pt>
                <c:pt idx="178">
                  <c:v>65</c:v>
                </c:pt>
                <c:pt idx="179">
                  <c:v>62</c:v>
                </c:pt>
                <c:pt idx="180">
                  <c:v>58</c:v>
                </c:pt>
                <c:pt idx="181">
                  <c:v>55</c:v>
                </c:pt>
                <c:pt idx="182">
                  <c:v>52</c:v>
                </c:pt>
                <c:pt idx="183">
                  <c:v>49</c:v>
                </c:pt>
                <c:pt idx="184">
                  <c:v>46</c:v>
                </c:pt>
                <c:pt idx="185">
                  <c:v>43</c:v>
                </c:pt>
                <c:pt idx="186">
                  <c:v>41</c:v>
                </c:pt>
                <c:pt idx="187">
                  <c:v>38</c:v>
                </c:pt>
                <c:pt idx="188">
                  <c:v>36</c:v>
                </c:pt>
                <c:pt idx="189">
                  <c:v>34</c:v>
                </c:pt>
                <c:pt idx="190">
                  <c:v>32</c:v>
                </c:pt>
                <c:pt idx="191">
                  <c:v>30</c:v>
                </c:pt>
                <c:pt idx="192">
                  <c:v>28</c:v>
                </c:pt>
                <c:pt idx="193">
                  <c:v>27</c:v>
                </c:pt>
                <c:pt idx="194">
                  <c:v>25</c:v>
                </c:pt>
                <c:pt idx="195">
                  <c:v>24</c:v>
                </c:pt>
                <c:pt idx="196">
                  <c:v>22</c:v>
                </c:pt>
                <c:pt idx="197">
                  <c:v>21</c:v>
                </c:pt>
                <c:pt idx="198">
                  <c:v>20</c:v>
                </c:pt>
                <c:pt idx="199">
                  <c:v>18</c:v>
                </c:pt>
                <c:pt idx="200">
                  <c:v>17</c:v>
                </c:pt>
                <c:pt idx="201">
                  <c:v>16</c:v>
                </c:pt>
                <c:pt idx="202">
                  <c:v>15</c:v>
                </c:pt>
                <c:pt idx="203">
                  <c:v>14</c:v>
                </c:pt>
                <c:pt idx="204">
                  <c:v>13</c:v>
                </c:pt>
                <c:pt idx="205">
                  <c:v>12</c:v>
                </c:pt>
                <c:pt idx="206">
                  <c:v>11</c:v>
                </c:pt>
                <c:pt idx="207">
                  <c:v>11</c:v>
                </c:pt>
                <c:pt idx="208">
                  <c:v>10</c:v>
                </c:pt>
                <c:pt idx="209">
                  <c:v>9</c:v>
                </c:pt>
                <c:pt idx="210">
                  <c:v>9</c:v>
                </c:pt>
                <c:pt idx="211">
                  <c:v>8</c:v>
                </c:pt>
                <c:pt idx="212">
                  <c:v>7</c:v>
                </c:pt>
                <c:pt idx="213">
                  <c:v>7</c:v>
                </c:pt>
                <c:pt idx="214">
                  <c:v>6</c:v>
                </c:pt>
                <c:pt idx="215">
                  <c:v>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102-4132-8307-8388D5B42D24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518</c:v>
                </c:pt>
                <c:pt idx="122">
                  <c:v>503</c:v>
                </c:pt>
                <c:pt idx="123">
                  <c:v>489</c:v>
                </c:pt>
                <c:pt idx="124">
                  <c:v>476</c:v>
                </c:pt>
                <c:pt idx="125">
                  <c:v>462</c:v>
                </c:pt>
                <c:pt idx="126">
                  <c:v>449</c:v>
                </c:pt>
                <c:pt idx="127">
                  <c:v>437</c:v>
                </c:pt>
                <c:pt idx="128">
                  <c:v>424</c:v>
                </c:pt>
                <c:pt idx="129">
                  <c:v>412</c:v>
                </c:pt>
                <c:pt idx="130">
                  <c:v>400</c:v>
                </c:pt>
                <c:pt idx="131">
                  <c:v>388</c:v>
                </c:pt>
                <c:pt idx="132">
                  <c:v>377</c:v>
                </c:pt>
                <c:pt idx="133">
                  <c:v>366</c:v>
                </c:pt>
                <c:pt idx="134">
                  <c:v>355</c:v>
                </c:pt>
                <c:pt idx="135">
                  <c:v>345</c:v>
                </c:pt>
                <c:pt idx="136">
                  <c:v>335</c:v>
                </c:pt>
                <c:pt idx="137">
                  <c:v>325</c:v>
                </c:pt>
                <c:pt idx="138">
                  <c:v>315</c:v>
                </c:pt>
                <c:pt idx="139">
                  <c:v>306</c:v>
                </c:pt>
                <c:pt idx="140">
                  <c:v>296</c:v>
                </c:pt>
                <c:pt idx="141">
                  <c:v>287</c:v>
                </c:pt>
                <c:pt idx="142">
                  <c:v>278</c:v>
                </c:pt>
                <c:pt idx="143">
                  <c:v>269</c:v>
                </c:pt>
                <c:pt idx="144">
                  <c:v>261</c:v>
                </c:pt>
                <c:pt idx="145">
                  <c:v>252</c:v>
                </c:pt>
                <c:pt idx="146">
                  <c:v>244</c:v>
                </c:pt>
                <c:pt idx="147">
                  <c:v>236</c:v>
                </c:pt>
                <c:pt idx="148">
                  <c:v>228</c:v>
                </c:pt>
                <c:pt idx="149">
                  <c:v>221</c:v>
                </c:pt>
                <c:pt idx="150">
                  <c:v>213</c:v>
                </c:pt>
                <c:pt idx="151">
                  <c:v>206</c:v>
                </c:pt>
                <c:pt idx="152">
                  <c:v>199</c:v>
                </c:pt>
                <c:pt idx="153">
                  <c:v>192</c:v>
                </c:pt>
                <c:pt idx="154">
                  <c:v>185</c:v>
                </c:pt>
                <c:pt idx="155">
                  <c:v>178</c:v>
                </c:pt>
                <c:pt idx="156">
                  <c:v>172</c:v>
                </c:pt>
                <c:pt idx="157">
                  <c:v>166</c:v>
                </c:pt>
                <c:pt idx="158">
                  <c:v>159</c:v>
                </c:pt>
                <c:pt idx="159">
                  <c:v>153</c:v>
                </c:pt>
                <c:pt idx="160">
                  <c:v>148</c:v>
                </c:pt>
                <c:pt idx="161">
                  <c:v>142</c:v>
                </c:pt>
                <c:pt idx="162">
                  <c:v>136</c:v>
                </c:pt>
                <c:pt idx="163">
                  <c:v>131</c:v>
                </c:pt>
                <c:pt idx="164">
                  <c:v>126</c:v>
                </c:pt>
                <c:pt idx="165">
                  <c:v>121</c:v>
                </c:pt>
                <c:pt idx="166">
                  <c:v>116</c:v>
                </c:pt>
                <c:pt idx="167">
                  <c:v>111</c:v>
                </c:pt>
                <c:pt idx="168">
                  <c:v>109</c:v>
                </c:pt>
                <c:pt idx="169">
                  <c:v>108</c:v>
                </c:pt>
                <c:pt idx="170">
                  <c:v>107</c:v>
                </c:pt>
                <c:pt idx="171">
                  <c:v>107</c:v>
                </c:pt>
                <c:pt idx="172">
                  <c:v>107</c:v>
                </c:pt>
                <c:pt idx="173">
                  <c:v>106</c:v>
                </c:pt>
                <c:pt idx="174">
                  <c:v>106</c:v>
                </c:pt>
                <c:pt idx="175">
                  <c:v>107</c:v>
                </c:pt>
                <c:pt idx="176">
                  <c:v>110</c:v>
                </c:pt>
                <c:pt idx="177">
                  <c:v>112</c:v>
                </c:pt>
                <c:pt idx="178">
                  <c:v>115</c:v>
                </c:pt>
                <c:pt idx="179">
                  <c:v>118</c:v>
                </c:pt>
                <c:pt idx="180">
                  <c:v>121</c:v>
                </c:pt>
                <c:pt idx="181">
                  <c:v>124</c:v>
                </c:pt>
                <c:pt idx="182">
                  <c:v>127</c:v>
                </c:pt>
                <c:pt idx="183">
                  <c:v>130</c:v>
                </c:pt>
                <c:pt idx="184">
                  <c:v>133</c:v>
                </c:pt>
                <c:pt idx="185">
                  <c:v>136</c:v>
                </c:pt>
                <c:pt idx="186">
                  <c:v>139</c:v>
                </c:pt>
                <c:pt idx="187">
                  <c:v>142</c:v>
                </c:pt>
                <c:pt idx="188">
                  <c:v>145</c:v>
                </c:pt>
                <c:pt idx="189">
                  <c:v>149</c:v>
                </c:pt>
                <c:pt idx="190">
                  <c:v>152</c:v>
                </c:pt>
                <c:pt idx="191">
                  <c:v>156</c:v>
                </c:pt>
                <c:pt idx="192">
                  <c:v>159</c:v>
                </c:pt>
                <c:pt idx="193">
                  <c:v>162</c:v>
                </c:pt>
                <c:pt idx="194">
                  <c:v>166</c:v>
                </c:pt>
                <c:pt idx="195">
                  <c:v>169</c:v>
                </c:pt>
                <c:pt idx="196">
                  <c:v>172</c:v>
                </c:pt>
                <c:pt idx="197">
                  <c:v>175</c:v>
                </c:pt>
                <c:pt idx="198">
                  <c:v>177</c:v>
                </c:pt>
                <c:pt idx="199">
                  <c:v>180</c:v>
                </c:pt>
                <c:pt idx="200">
                  <c:v>182</c:v>
                </c:pt>
                <c:pt idx="201">
                  <c:v>184</c:v>
                </c:pt>
                <c:pt idx="202">
                  <c:v>186</c:v>
                </c:pt>
                <c:pt idx="203">
                  <c:v>187</c:v>
                </c:pt>
                <c:pt idx="204">
                  <c:v>189</c:v>
                </c:pt>
                <c:pt idx="205">
                  <c:v>190</c:v>
                </c:pt>
                <c:pt idx="206">
                  <c:v>190</c:v>
                </c:pt>
                <c:pt idx="207">
                  <c:v>191</c:v>
                </c:pt>
                <c:pt idx="208">
                  <c:v>191</c:v>
                </c:pt>
                <c:pt idx="209">
                  <c:v>191</c:v>
                </c:pt>
                <c:pt idx="210">
                  <c:v>190</c:v>
                </c:pt>
                <c:pt idx="211">
                  <c:v>189</c:v>
                </c:pt>
                <c:pt idx="212">
                  <c:v>188</c:v>
                </c:pt>
                <c:pt idx="213">
                  <c:v>187</c:v>
                </c:pt>
                <c:pt idx="214">
                  <c:v>185</c:v>
                </c:pt>
                <c:pt idx="215">
                  <c:v>1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102-4132-8307-8388D5B42D24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102-4132-8307-8388D5B42D24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102-4132-8307-8388D5B42D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6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678</c:v>
                </c:pt>
                <c:pt idx="1">
                  <c:v>677</c:v>
                </c:pt>
                <c:pt idx="2">
                  <c:v>649</c:v>
                </c:pt>
                <c:pt idx="3">
                  <c:v>620</c:v>
                </c:pt>
                <c:pt idx="4">
                  <c:v>382</c:v>
                </c:pt>
                <c:pt idx="5">
                  <c:v>197</c:v>
                </c:pt>
                <c:pt idx="6">
                  <c:v>573</c:v>
                </c:pt>
                <c:pt idx="7">
                  <c:v>945</c:v>
                </c:pt>
                <c:pt idx="8">
                  <c:v>729</c:v>
                </c:pt>
                <c:pt idx="9">
                  <c:v>762</c:v>
                </c:pt>
                <c:pt idx="10">
                  <c:v>924</c:v>
                </c:pt>
                <c:pt idx="11">
                  <c:v>535</c:v>
                </c:pt>
                <c:pt idx="12">
                  <c:v>307</c:v>
                </c:pt>
                <c:pt idx="13">
                  <c:v>776</c:v>
                </c:pt>
                <c:pt idx="14">
                  <c:v>1137</c:v>
                </c:pt>
                <c:pt idx="15">
                  <c:v>1292</c:v>
                </c:pt>
                <c:pt idx="16">
                  <c:v>1148</c:v>
                </c:pt>
                <c:pt idx="17">
                  <c:v>1344</c:v>
                </c:pt>
                <c:pt idx="18">
                  <c:v>833</c:v>
                </c:pt>
                <c:pt idx="19">
                  <c:v>766</c:v>
                </c:pt>
                <c:pt idx="20">
                  <c:v>1293</c:v>
                </c:pt>
                <c:pt idx="21">
                  <c:v>1629</c:v>
                </c:pt>
                <c:pt idx="22">
                  <c:v>1777</c:v>
                </c:pt>
                <c:pt idx="23">
                  <c:v>875</c:v>
                </c:pt>
                <c:pt idx="24">
                  <c:v>287</c:v>
                </c:pt>
                <c:pt idx="25">
                  <c:v>530</c:v>
                </c:pt>
                <c:pt idx="26">
                  <c:v>736</c:v>
                </c:pt>
                <c:pt idx="27">
                  <c:v>1796</c:v>
                </c:pt>
                <c:pt idx="28">
                  <c:v>2276</c:v>
                </c:pt>
                <c:pt idx="29">
                  <c:v>2541</c:v>
                </c:pt>
                <c:pt idx="30">
                  <c:v>1667</c:v>
                </c:pt>
                <c:pt idx="31">
                  <c:v>317</c:v>
                </c:pt>
                <c:pt idx="32">
                  <c:v>891</c:v>
                </c:pt>
                <c:pt idx="33">
                  <c:v>1197</c:v>
                </c:pt>
                <c:pt idx="34">
                  <c:v>2127</c:v>
                </c:pt>
                <c:pt idx="35">
                  <c:v>2405</c:v>
                </c:pt>
                <c:pt idx="36">
                  <c:v>2212</c:v>
                </c:pt>
                <c:pt idx="37">
                  <c:v>2212</c:v>
                </c:pt>
                <c:pt idx="38">
                  <c:v>1778</c:v>
                </c:pt>
                <c:pt idx="39">
                  <c:v>1286</c:v>
                </c:pt>
                <c:pt idx="40">
                  <c:v>724</c:v>
                </c:pt>
                <c:pt idx="41">
                  <c:v>1412</c:v>
                </c:pt>
                <c:pt idx="42">
                  <c:v>1493</c:v>
                </c:pt>
                <c:pt idx="43">
                  <c:v>1327</c:v>
                </c:pt>
                <c:pt idx="44">
                  <c:v>1002</c:v>
                </c:pt>
                <c:pt idx="45">
                  <c:v>1106</c:v>
                </c:pt>
                <c:pt idx="46">
                  <c:v>760</c:v>
                </c:pt>
                <c:pt idx="47">
                  <c:v>623</c:v>
                </c:pt>
                <c:pt idx="48">
                  <c:v>729</c:v>
                </c:pt>
                <c:pt idx="49">
                  <c:v>994</c:v>
                </c:pt>
                <c:pt idx="50">
                  <c:v>755</c:v>
                </c:pt>
                <c:pt idx="51">
                  <c:v>774</c:v>
                </c:pt>
                <c:pt idx="52">
                  <c:v>879</c:v>
                </c:pt>
                <c:pt idx="53">
                  <c:v>361</c:v>
                </c:pt>
                <c:pt idx="54">
                  <c:v>343</c:v>
                </c:pt>
                <c:pt idx="55">
                  <c:v>725</c:v>
                </c:pt>
                <c:pt idx="56">
                  <c:v>881</c:v>
                </c:pt>
                <c:pt idx="57">
                  <c:v>664</c:v>
                </c:pt>
                <c:pt idx="58">
                  <c:v>645</c:v>
                </c:pt>
                <c:pt idx="59">
                  <c:v>672</c:v>
                </c:pt>
                <c:pt idx="60">
                  <c:v>423</c:v>
                </c:pt>
                <c:pt idx="61">
                  <c:v>205</c:v>
                </c:pt>
                <c:pt idx="62">
                  <c:v>616</c:v>
                </c:pt>
                <c:pt idx="63">
                  <c:v>653</c:v>
                </c:pt>
                <c:pt idx="64">
                  <c:v>565</c:v>
                </c:pt>
                <c:pt idx="65">
                  <c:v>525</c:v>
                </c:pt>
                <c:pt idx="66">
                  <c:v>752</c:v>
                </c:pt>
                <c:pt idx="67">
                  <c:v>296</c:v>
                </c:pt>
                <c:pt idx="68">
                  <c:v>178</c:v>
                </c:pt>
                <c:pt idx="69">
                  <c:v>507</c:v>
                </c:pt>
                <c:pt idx="70">
                  <c:v>714</c:v>
                </c:pt>
                <c:pt idx="71">
                  <c:v>640</c:v>
                </c:pt>
                <c:pt idx="72">
                  <c:v>611</c:v>
                </c:pt>
                <c:pt idx="73">
                  <c:v>585</c:v>
                </c:pt>
                <c:pt idx="74">
                  <c:v>366</c:v>
                </c:pt>
                <c:pt idx="75">
                  <c:v>169</c:v>
                </c:pt>
                <c:pt idx="76">
                  <c:v>657</c:v>
                </c:pt>
                <c:pt idx="77">
                  <c:v>881</c:v>
                </c:pt>
                <c:pt idx="78">
                  <c:v>820</c:v>
                </c:pt>
                <c:pt idx="79">
                  <c:v>693</c:v>
                </c:pt>
                <c:pt idx="80">
                  <c:v>790</c:v>
                </c:pt>
                <c:pt idx="81">
                  <c:v>499</c:v>
                </c:pt>
                <c:pt idx="82">
                  <c:v>206</c:v>
                </c:pt>
                <c:pt idx="83">
                  <c:v>755</c:v>
                </c:pt>
                <c:pt idx="84">
                  <c:v>1210</c:v>
                </c:pt>
                <c:pt idx="85">
                  <c:v>985</c:v>
                </c:pt>
                <c:pt idx="86">
                  <c:v>1033</c:v>
                </c:pt>
                <c:pt idx="87">
                  <c:v>952</c:v>
                </c:pt>
                <c:pt idx="88">
                  <c:v>555</c:v>
                </c:pt>
                <c:pt idx="89">
                  <c:v>291</c:v>
                </c:pt>
                <c:pt idx="90">
                  <c:v>1030</c:v>
                </c:pt>
                <c:pt idx="91">
                  <c:v>1204</c:v>
                </c:pt>
                <c:pt idx="92">
                  <c:v>986</c:v>
                </c:pt>
                <c:pt idx="93">
                  <c:v>1022</c:v>
                </c:pt>
                <c:pt idx="94">
                  <c:v>823</c:v>
                </c:pt>
                <c:pt idx="95">
                  <c:v>674</c:v>
                </c:pt>
                <c:pt idx="96">
                  <c:v>255</c:v>
                </c:pt>
                <c:pt idx="97">
                  <c:v>959</c:v>
                </c:pt>
                <c:pt idx="98">
                  <c:v>1147</c:v>
                </c:pt>
                <c:pt idx="99">
                  <c:v>858</c:v>
                </c:pt>
                <c:pt idx="100">
                  <c:v>959</c:v>
                </c:pt>
                <c:pt idx="101">
                  <c:v>1013</c:v>
                </c:pt>
                <c:pt idx="102">
                  <c:v>467</c:v>
                </c:pt>
                <c:pt idx="103">
                  <c:v>165</c:v>
                </c:pt>
                <c:pt idx="104">
                  <c:v>1420</c:v>
                </c:pt>
                <c:pt idx="105">
                  <c:v>1049</c:v>
                </c:pt>
                <c:pt idx="106">
                  <c:v>1049</c:v>
                </c:pt>
                <c:pt idx="107">
                  <c:v>1003</c:v>
                </c:pt>
                <c:pt idx="108">
                  <c:v>762</c:v>
                </c:pt>
                <c:pt idx="109">
                  <c:v>452</c:v>
                </c:pt>
                <c:pt idx="110">
                  <c:v>224</c:v>
                </c:pt>
                <c:pt idx="111">
                  <c:v>883</c:v>
                </c:pt>
                <c:pt idx="112">
                  <c:v>1005</c:v>
                </c:pt>
                <c:pt idx="113">
                  <c:v>868</c:v>
                </c:pt>
                <c:pt idx="114">
                  <c:v>759</c:v>
                </c:pt>
                <c:pt idx="115">
                  <c:v>765</c:v>
                </c:pt>
                <c:pt idx="116">
                  <c:v>474</c:v>
                </c:pt>
                <c:pt idx="117">
                  <c:v>166</c:v>
                </c:pt>
                <c:pt idx="118">
                  <c:v>757</c:v>
                </c:pt>
                <c:pt idx="119">
                  <c:v>870</c:v>
                </c:pt>
                <c:pt idx="120">
                  <c:v>802</c:v>
                </c:pt>
                <c:pt idx="121">
                  <c:v>766</c:v>
                </c:pt>
                <c:pt idx="122">
                  <c:v>265</c:v>
                </c:pt>
                <c:pt idx="123">
                  <c:v>274</c:v>
                </c:pt>
                <c:pt idx="124">
                  <c:v>280</c:v>
                </c:pt>
                <c:pt idx="125">
                  <c:v>137</c:v>
                </c:pt>
                <c:pt idx="126">
                  <c:v>750</c:v>
                </c:pt>
                <c:pt idx="127">
                  <c:v>744</c:v>
                </c:pt>
                <c:pt idx="128">
                  <c:v>675</c:v>
                </c:pt>
                <c:pt idx="129">
                  <c:v>546</c:v>
                </c:pt>
                <c:pt idx="130">
                  <c:v>304</c:v>
                </c:pt>
                <c:pt idx="131">
                  <c:v>104</c:v>
                </c:pt>
                <c:pt idx="132">
                  <c:v>606</c:v>
                </c:pt>
                <c:pt idx="133">
                  <c:v>589</c:v>
                </c:pt>
                <c:pt idx="134">
                  <c:v>553</c:v>
                </c:pt>
                <c:pt idx="135">
                  <c:v>411</c:v>
                </c:pt>
                <c:pt idx="136">
                  <c:v>423</c:v>
                </c:pt>
                <c:pt idx="137">
                  <c:v>205</c:v>
                </c:pt>
                <c:pt idx="138">
                  <c:v>138</c:v>
                </c:pt>
                <c:pt idx="139">
                  <c:v>448</c:v>
                </c:pt>
                <c:pt idx="140">
                  <c:v>502</c:v>
                </c:pt>
                <c:pt idx="141">
                  <c:v>368</c:v>
                </c:pt>
                <c:pt idx="142">
                  <c:v>335</c:v>
                </c:pt>
                <c:pt idx="143">
                  <c:v>319</c:v>
                </c:pt>
                <c:pt idx="144">
                  <c:v>247</c:v>
                </c:pt>
                <c:pt idx="145">
                  <c:v>89</c:v>
                </c:pt>
                <c:pt idx="146">
                  <c:v>319</c:v>
                </c:pt>
                <c:pt idx="147">
                  <c:v>480</c:v>
                </c:pt>
                <c:pt idx="148">
                  <c:v>370</c:v>
                </c:pt>
                <c:pt idx="149">
                  <c:v>227</c:v>
                </c:pt>
                <c:pt idx="150">
                  <c:v>306</c:v>
                </c:pt>
                <c:pt idx="151">
                  <c:v>160</c:v>
                </c:pt>
                <c:pt idx="152">
                  <c:v>67</c:v>
                </c:pt>
                <c:pt idx="153">
                  <c:v>325</c:v>
                </c:pt>
                <c:pt idx="154">
                  <c:v>349</c:v>
                </c:pt>
                <c:pt idx="155">
                  <c:v>275</c:v>
                </c:pt>
                <c:pt idx="156">
                  <c:v>209</c:v>
                </c:pt>
                <c:pt idx="157">
                  <c:v>235</c:v>
                </c:pt>
                <c:pt idx="158">
                  <c:v>131</c:v>
                </c:pt>
                <c:pt idx="159">
                  <c:v>55</c:v>
                </c:pt>
                <c:pt idx="160">
                  <c:v>299</c:v>
                </c:pt>
                <c:pt idx="161">
                  <c:v>252</c:v>
                </c:pt>
                <c:pt idx="162">
                  <c:v>163</c:v>
                </c:pt>
                <c:pt idx="163">
                  <c:v>244</c:v>
                </c:pt>
                <c:pt idx="164">
                  <c:v>175</c:v>
                </c:pt>
                <c:pt idx="165">
                  <c:v>96</c:v>
                </c:pt>
                <c:pt idx="166">
                  <c:v>44</c:v>
                </c:pt>
                <c:pt idx="167">
                  <c:v>161</c:v>
                </c:pt>
                <c:pt idx="168">
                  <c:v>203</c:v>
                </c:pt>
                <c:pt idx="169">
                  <c:v>109</c:v>
                </c:pt>
                <c:pt idx="170">
                  <c:v>115</c:v>
                </c:pt>
                <c:pt idx="171">
                  <c:v>81</c:v>
                </c:pt>
                <c:pt idx="172">
                  <c:v>72</c:v>
                </c:pt>
                <c:pt idx="173">
                  <c:v>26</c:v>
                </c:pt>
                <c:pt idx="174">
                  <c:v>124</c:v>
                </c:pt>
                <c:pt idx="175">
                  <c:v>94</c:v>
                </c:pt>
                <c:pt idx="176">
                  <c:v>81</c:v>
                </c:pt>
                <c:pt idx="177">
                  <c:v>82</c:v>
                </c:pt>
                <c:pt idx="178">
                  <c:v>52</c:v>
                </c:pt>
                <c:pt idx="179">
                  <c:v>23</c:v>
                </c:pt>
                <c:pt idx="180">
                  <c:v>21</c:v>
                </c:pt>
                <c:pt idx="181">
                  <c:v>68</c:v>
                </c:pt>
                <c:pt idx="182">
                  <c:v>78</c:v>
                </c:pt>
                <c:pt idx="183">
                  <c:v>48</c:v>
                </c:pt>
                <c:pt idx="184">
                  <c:v>55</c:v>
                </c:pt>
                <c:pt idx="185">
                  <c:v>43</c:v>
                </c:pt>
                <c:pt idx="186">
                  <c:v>18</c:v>
                </c:pt>
                <c:pt idx="187">
                  <c:v>10</c:v>
                </c:pt>
                <c:pt idx="188">
                  <c:v>46</c:v>
                </c:pt>
                <c:pt idx="189">
                  <c:v>35</c:v>
                </c:pt>
                <c:pt idx="190">
                  <c:v>36</c:v>
                </c:pt>
                <c:pt idx="191">
                  <c:v>19</c:v>
                </c:pt>
                <c:pt idx="192">
                  <c:v>17</c:v>
                </c:pt>
                <c:pt idx="193">
                  <c:v>17</c:v>
                </c:pt>
                <c:pt idx="194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2C4-4C0D-AAF3-54715CB457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2C4-4C0D-AAF3-54715CB457A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985</c:v>
                </c:pt>
                <c:pt idx="122">
                  <c:v>958</c:v>
                </c:pt>
                <c:pt idx="123">
                  <c:v>931</c:v>
                </c:pt>
                <c:pt idx="124">
                  <c:v>905</c:v>
                </c:pt>
                <c:pt idx="125">
                  <c:v>880</c:v>
                </c:pt>
                <c:pt idx="126">
                  <c:v>855</c:v>
                </c:pt>
                <c:pt idx="127">
                  <c:v>831</c:v>
                </c:pt>
                <c:pt idx="128">
                  <c:v>807</c:v>
                </c:pt>
                <c:pt idx="129">
                  <c:v>784</c:v>
                </c:pt>
                <c:pt idx="130">
                  <c:v>761</c:v>
                </c:pt>
                <c:pt idx="131">
                  <c:v>739</c:v>
                </c:pt>
                <c:pt idx="132">
                  <c:v>718</c:v>
                </c:pt>
                <c:pt idx="133">
                  <c:v>697</c:v>
                </c:pt>
                <c:pt idx="134">
                  <c:v>677</c:v>
                </c:pt>
                <c:pt idx="135">
                  <c:v>657</c:v>
                </c:pt>
                <c:pt idx="136">
                  <c:v>637</c:v>
                </c:pt>
                <c:pt idx="137">
                  <c:v>618</c:v>
                </c:pt>
                <c:pt idx="138">
                  <c:v>600</c:v>
                </c:pt>
                <c:pt idx="139">
                  <c:v>582</c:v>
                </c:pt>
                <c:pt idx="140">
                  <c:v>564</c:v>
                </c:pt>
                <c:pt idx="141">
                  <c:v>547</c:v>
                </c:pt>
                <c:pt idx="142">
                  <c:v>530</c:v>
                </c:pt>
                <c:pt idx="143">
                  <c:v>513</c:v>
                </c:pt>
                <c:pt idx="144">
                  <c:v>496</c:v>
                </c:pt>
                <c:pt idx="145">
                  <c:v>480</c:v>
                </c:pt>
                <c:pt idx="146">
                  <c:v>465</c:v>
                </c:pt>
                <c:pt idx="147">
                  <c:v>449</c:v>
                </c:pt>
                <c:pt idx="148">
                  <c:v>435</c:v>
                </c:pt>
                <c:pt idx="149">
                  <c:v>420</c:v>
                </c:pt>
                <c:pt idx="150">
                  <c:v>406</c:v>
                </c:pt>
                <c:pt idx="151">
                  <c:v>392</c:v>
                </c:pt>
                <c:pt idx="152">
                  <c:v>378</c:v>
                </c:pt>
                <c:pt idx="153">
                  <c:v>365</c:v>
                </c:pt>
                <c:pt idx="154">
                  <c:v>352</c:v>
                </c:pt>
                <c:pt idx="155">
                  <c:v>339</c:v>
                </c:pt>
                <c:pt idx="156">
                  <c:v>327</c:v>
                </c:pt>
                <c:pt idx="157">
                  <c:v>315</c:v>
                </c:pt>
                <c:pt idx="158">
                  <c:v>303</c:v>
                </c:pt>
                <c:pt idx="159">
                  <c:v>292</c:v>
                </c:pt>
                <c:pt idx="160">
                  <c:v>281</c:v>
                </c:pt>
                <c:pt idx="161">
                  <c:v>270</c:v>
                </c:pt>
                <c:pt idx="162">
                  <c:v>260</c:v>
                </c:pt>
                <c:pt idx="163">
                  <c:v>249</c:v>
                </c:pt>
                <c:pt idx="164">
                  <c:v>239</c:v>
                </c:pt>
                <c:pt idx="165">
                  <c:v>230</c:v>
                </c:pt>
                <c:pt idx="166">
                  <c:v>220</c:v>
                </c:pt>
                <c:pt idx="167">
                  <c:v>211</c:v>
                </c:pt>
                <c:pt idx="168">
                  <c:v>202</c:v>
                </c:pt>
                <c:pt idx="169">
                  <c:v>194</c:v>
                </c:pt>
                <c:pt idx="170">
                  <c:v>185</c:v>
                </c:pt>
                <c:pt idx="171">
                  <c:v>177</c:v>
                </c:pt>
                <c:pt idx="172">
                  <c:v>169</c:v>
                </c:pt>
                <c:pt idx="173">
                  <c:v>161</c:v>
                </c:pt>
                <c:pt idx="174">
                  <c:v>153</c:v>
                </c:pt>
                <c:pt idx="175">
                  <c:v>145</c:v>
                </c:pt>
                <c:pt idx="176">
                  <c:v>138</c:v>
                </c:pt>
                <c:pt idx="177">
                  <c:v>131</c:v>
                </c:pt>
                <c:pt idx="178">
                  <c:v>124</c:v>
                </c:pt>
                <c:pt idx="179">
                  <c:v>117</c:v>
                </c:pt>
                <c:pt idx="180">
                  <c:v>111</c:v>
                </c:pt>
                <c:pt idx="181">
                  <c:v>104</c:v>
                </c:pt>
                <c:pt idx="182">
                  <c:v>98</c:v>
                </c:pt>
                <c:pt idx="183">
                  <c:v>93</c:v>
                </c:pt>
                <c:pt idx="184">
                  <c:v>87</c:v>
                </c:pt>
                <c:pt idx="185">
                  <c:v>82</c:v>
                </c:pt>
                <c:pt idx="186">
                  <c:v>78</c:v>
                </c:pt>
                <c:pt idx="187">
                  <c:v>73</c:v>
                </c:pt>
                <c:pt idx="188">
                  <c:v>69</c:v>
                </c:pt>
                <c:pt idx="189">
                  <c:v>65</c:v>
                </c:pt>
                <c:pt idx="190">
                  <c:v>61</c:v>
                </c:pt>
                <c:pt idx="191">
                  <c:v>58</c:v>
                </c:pt>
                <c:pt idx="192">
                  <c:v>54</c:v>
                </c:pt>
                <c:pt idx="193">
                  <c:v>51</c:v>
                </c:pt>
                <c:pt idx="194">
                  <c:v>48</c:v>
                </c:pt>
                <c:pt idx="195">
                  <c:v>45</c:v>
                </c:pt>
                <c:pt idx="196">
                  <c:v>42</c:v>
                </c:pt>
                <c:pt idx="197">
                  <c:v>40</c:v>
                </c:pt>
                <c:pt idx="198">
                  <c:v>37</c:v>
                </c:pt>
                <c:pt idx="199">
                  <c:v>35</c:v>
                </c:pt>
                <c:pt idx="200">
                  <c:v>33</c:v>
                </c:pt>
                <c:pt idx="201">
                  <c:v>31</c:v>
                </c:pt>
                <c:pt idx="202">
                  <c:v>29</c:v>
                </c:pt>
                <c:pt idx="203">
                  <c:v>27</c:v>
                </c:pt>
                <c:pt idx="204">
                  <c:v>25</c:v>
                </c:pt>
                <c:pt idx="205">
                  <c:v>23</c:v>
                </c:pt>
                <c:pt idx="206">
                  <c:v>22</c:v>
                </c:pt>
                <c:pt idx="207">
                  <c:v>20</c:v>
                </c:pt>
                <c:pt idx="208">
                  <c:v>19</c:v>
                </c:pt>
                <c:pt idx="209">
                  <c:v>18</c:v>
                </c:pt>
                <c:pt idx="210">
                  <c:v>16</c:v>
                </c:pt>
                <c:pt idx="211">
                  <c:v>15</c:v>
                </c:pt>
                <c:pt idx="212">
                  <c:v>14</c:v>
                </c:pt>
                <c:pt idx="213">
                  <c:v>13</c:v>
                </c:pt>
                <c:pt idx="214">
                  <c:v>12</c:v>
                </c:pt>
                <c:pt idx="215">
                  <c:v>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2C4-4C0D-AAF3-54715CB457A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985</c:v>
                </c:pt>
                <c:pt idx="122">
                  <c:v>958</c:v>
                </c:pt>
                <c:pt idx="123">
                  <c:v>931</c:v>
                </c:pt>
                <c:pt idx="124">
                  <c:v>905</c:v>
                </c:pt>
                <c:pt idx="125">
                  <c:v>880</c:v>
                </c:pt>
                <c:pt idx="126">
                  <c:v>855</c:v>
                </c:pt>
                <c:pt idx="127">
                  <c:v>831</c:v>
                </c:pt>
                <c:pt idx="128">
                  <c:v>807</c:v>
                </c:pt>
                <c:pt idx="129">
                  <c:v>784</c:v>
                </c:pt>
                <c:pt idx="130">
                  <c:v>761</c:v>
                </c:pt>
                <c:pt idx="131">
                  <c:v>739</c:v>
                </c:pt>
                <c:pt idx="132">
                  <c:v>718</c:v>
                </c:pt>
                <c:pt idx="133">
                  <c:v>697</c:v>
                </c:pt>
                <c:pt idx="134">
                  <c:v>677</c:v>
                </c:pt>
                <c:pt idx="135">
                  <c:v>657</c:v>
                </c:pt>
                <c:pt idx="136">
                  <c:v>637</c:v>
                </c:pt>
                <c:pt idx="137">
                  <c:v>618</c:v>
                </c:pt>
                <c:pt idx="138">
                  <c:v>600</c:v>
                </c:pt>
                <c:pt idx="139">
                  <c:v>582</c:v>
                </c:pt>
                <c:pt idx="140">
                  <c:v>564</c:v>
                </c:pt>
                <c:pt idx="141">
                  <c:v>547</c:v>
                </c:pt>
                <c:pt idx="142">
                  <c:v>530</c:v>
                </c:pt>
                <c:pt idx="143">
                  <c:v>513</c:v>
                </c:pt>
                <c:pt idx="144">
                  <c:v>496</c:v>
                </c:pt>
                <c:pt idx="145">
                  <c:v>480</c:v>
                </c:pt>
                <c:pt idx="146">
                  <c:v>465</c:v>
                </c:pt>
                <c:pt idx="147">
                  <c:v>449</c:v>
                </c:pt>
                <c:pt idx="148">
                  <c:v>435</c:v>
                </c:pt>
                <c:pt idx="149">
                  <c:v>420</c:v>
                </c:pt>
                <c:pt idx="150">
                  <c:v>406</c:v>
                </c:pt>
                <c:pt idx="151">
                  <c:v>392</c:v>
                </c:pt>
                <c:pt idx="152">
                  <c:v>378</c:v>
                </c:pt>
                <c:pt idx="153">
                  <c:v>365</c:v>
                </c:pt>
                <c:pt idx="154">
                  <c:v>352</c:v>
                </c:pt>
                <c:pt idx="155">
                  <c:v>339</c:v>
                </c:pt>
                <c:pt idx="156">
                  <c:v>327</c:v>
                </c:pt>
                <c:pt idx="157">
                  <c:v>315</c:v>
                </c:pt>
                <c:pt idx="158">
                  <c:v>303</c:v>
                </c:pt>
                <c:pt idx="159">
                  <c:v>292</c:v>
                </c:pt>
                <c:pt idx="160">
                  <c:v>281</c:v>
                </c:pt>
                <c:pt idx="161">
                  <c:v>270</c:v>
                </c:pt>
                <c:pt idx="162">
                  <c:v>260</c:v>
                </c:pt>
                <c:pt idx="163">
                  <c:v>249</c:v>
                </c:pt>
                <c:pt idx="164">
                  <c:v>239</c:v>
                </c:pt>
                <c:pt idx="165">
                  <c:v>230</c:v>
                </c:pt>
                <c:pt idx="166">
                  <c:v>220</c:v>
                </c:pt>
                <c:pt idx="167">
                  <c:v>211</c:v>
                </c:pt>
                <c:pt idx="168">
                  <c:v>207</c:v>
                </c:pt>
                <c:pt idx="169">
                  <c:v>205</c:v>
                </c:pt>
                <c:pt idx="170">
                  <c:v>204</c:v>
                </c:pt>
                <c:pt idx="171">
                  <c:v>203</c:v>
                </c:pt>
                <c:pt idx="172">
                  <c:v>203</c:v>
                </c:pt>
                <c:pt idx="173">
                  <c:v>202</c:v>
                </c:pt>
                <c:pt idx="174">
                  <c:v>202</c:v>
                </c:pt>
                <c:pt idx="175">
                  <c:v>204</c:v>
                </c:pt>
                <c:pt idx="176">
                  <c:v>209</c:v>
                </c:pt>
                <c:pt idx="177">
                  <c:v>214</c:v>
                </c:pt>
                <c:pt idx="178">
                  <c:v>219</c:v>
                </c:pt>
                <c:pt idx="179">
                  <c:v>225</c:v>
                </c:pt>
                <c:pt idx="180">
                  <c:v>230</c:v>
                </c:pt>
                <c:pt idx="181">
                  <c:v>236</c:v>
                </c:pt>
                <c:pt idx="182">
                  <c:v>241</c:v>
                </c:pt>
                <c:pt idx="183">
                  <c:v>247</c:v>
                </c:pt>
                <c:pt idx="184">
                  <c:v>253</c:v>
                </c:pt>
                <c:pt idx="185">
                  <c:v>259</c:v>
                </c:pt>
                <c:pt idx="186">
                  <c:v>264</c:v>
                </c:pt>
                <c:pt idx="187">
                  <c:v>270</c:v>
                </c:pt>
                <c:pt idx="188">
                  <c:v>277</c:v>
                </c:pt>
                <c:pt idx="189">
                  <c:v>283</c:v>
                </c:pt>
                <c:pt idx="190">
                  <c:v>290</c:v>
                </c:pt>
                <c:pt idx="191">
                  <c:v>296</c:v>
                </c:pt>
                <c:pt idx="192">
                  <c:v>303</c:v>
                </c:pt>
                <c:pt idx="193">
                  <c:v>309</c:v>
                </c:pt>
                <c:pt idx="194">
                  <c:v>315</c:v>
                </c:pt>
                <c:pt idx="195">
                  <c:v>321</c:v>
                </c:pt>
                <c:pt idx="196">
                  <c:v>327</c:v>
                </c:pt>
                <c:pt idx="197">
                  <c:v>333</c:v>
                </c:pt>
                <c:pt idx="198">
                  <c:v>338</c:v>
                </c:pt>
                <c:pt idx="199">
                  <c:v>342</c:v>
                </c:pt>
                <c:pt idx="200">
                  <c:v>347</c:v>
                </c:pt>
                <c:pt idx="201">
                  <c:v>350</c:v>
                </c:pt>
                <c:pt idx="202">
                  <c:v>354</c:v>
                </c:pt>
                <c:pt idx="203">
                  <c:v>357</c:v>
                </c:pt>
                <c:pt idx="204">
                  <c:v>359</c:v>
                </c:pt>
                <c:pt idx="205">
                  <c:v>361</c:v>
                </c:pt>
                <c:pt idx="206">
                  <c:v>362</c:v>
                </c:pt>
                <c:pt idx="207">
                  <c:v>363</c:v>
                </c:pt>
                <c:pt idx="208">
                  <c:v>363</c:v>
                </c:pt>
                <c:pt idx="209">
                  <c:v>363</c:v>
                </c:pt>
                <c:pt idx="210">
                  <c:v>362</c:v>
                </c:pt>
                <c:pt idx="211">
                  <c:v>361</c:v>
                </c:pt>
                <c:pt idx="212">
                  <c:v>359</c:v>
                </c:pt>
                <c:pt idx="213">
                  <c:v>356</c:v>
                </c:pt>
                <c:pt idx="214">
                  <c:v>353</c:v>
                </c:pt>
                <c:pt idx="215">
                  <c:v>3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2C4-4C0D-AAF3-54715CB457A9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2C4-4C0D-AAF3-54715CB457A9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2C4-4C0D-AAF3-54715CB457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400</c:v>
                </c:pt>
                <c:pt idx="1">
                  <c:v>398</c:v>
                </c:pt>
                <c:pt idx="2">
                  <c:v>499</c:v>
                </c:pt>
                <c:pt idx="3">
                  <c:v>412</c:v>
                </c:pt>
                <c:pt idx="4">
                  <c:v>355</c:v>
                </c:pt>
                <c:pt idx="5">
                  <c:v>144</c:v>
                </c:pt>
                <c:pt idx="6">
                  <c:v>333</c:v>
                </c:pt>
                <c:pt idx="7">
                  <c:v>550</c:v>
                </c:pt>
                <c:pt idx="8">
                  <c:v>525</c:v>
                </c:pt>
                <c:pt idx="9">
                  <c:v>570</c:v>
                </c:pt>
                <c:pt idx="10">
                  <c:v>510</c:v>
                </c:pt>
                <c:pt idx="11">
                  <c:v>403</c:v>
                </c:pt>
                <c:pt idx="12">
                  <c:v>234</c:v>
                </c:pt>
                <c:pt idx="13">
                  <c:v>447</c:v>
                </c:pt>
                <c:pt idx="14">
                  <c:v>859</c:v>
                </c:pt>
                <c:pt idx="15">
                  <c:v>774</c:v>
                </c:pt>
                <c:pt idx="16">
                  <c:v>857</c:v>
                </c:pt>
                <c:pt idx="17">
                  <c:v>853</c:v>
                </c:pt>
                <c:pt idx="18">
                  <c:v>810</c:v>
                </c:pt>
                <c:pt idx="19">
                  <c:v>431</c:v>
                </c:pt>
                <c:pt idx="20">
                  <c:v>788</c:v>
                </c:pt>
                <c:pt idx="21">
                  <c:v>1194</c:v>
                </c:pt>
                <c:pt idx="22">
                  <c:v>1463</c:v>
                </c:pt>
                <c:pt idx="23">
                  <c:v>777</c:v>
                </c:pt>
                <c:pt idx="24">
                  <c:v>331</c:v>
                </c:pt>
                <c:pt idx="25">
                  <c:v>313</c:v>
                </c:pt>
                <c:pt idx="26">
                  <c:v>587</c:v>
                </c:pt>
                <c:pt idx="27">
                  <c:v>1332</c:v>
                </c:pt>
                <c:pt idx="28">
                  <c:v>2021</c:v>
                </c:pt>
                <c:pt idx="29">
                  <c:v>1881</c:v>
                </c:pt>
                <c:pt idx="30">
                  <c:v>1770</c:v>
                </c:pt>
                <c:pt idx="31">
                  <c:v>394</c:v>
                </c:pt>
                <c:pt idx="32">
                  <c:v>569</c:v>
                </c:pt>
                <c:pt idx="33">
                  <c:v>849</c:v>
                </c:pt>
                <c:pt idx="34">
                  <c:v>1263</c:v>
                </c:pt>
                <c:pt idx="35">
                  <c:v>2066</c:v>
                </c:pt>
                <c:pt idx="36">
                  <c:v>1799</c:v>
                </c:pt>
                <c:pt idx="37">
                  <c:v>1402</c:v>
                </c:pt>
                <c:pt idx="38">
                  <c:v>1261</c:v>
                </c:pt>
                <c:pt idx="39">
                  <c:v>788</c:v>
                </c:pt>
                <c:pt idx="40">
                  <c:v>484</c:v>
                </c:pt>
                <c:pt idx="41">
                  <c:v>807</c:v>
                </c:pt>
                <c:pt idx="42">
                  <c:v>956</c:v>
                </c:pt>
                <c:pt idx="43">
                  <c:v>1062</c:v>
                </c:pt>
                <c:pt idx="44">
                  <c:v>732</c:v>
                </c:pt>
                <c:pt idx="45">
                  <c:v>754</c:v>
                </c:pt>
                <c:pt idx="46">
                  <c:v>484</c:v>
                </c:pt>
                <c:pt idx="47">
                  <c:v>275</c:v>
                </c:pt>
                <c:pt idx="48">
                  <c:v>719</c:v>
                </c:pt>
                <c:pt idx="49">
                  <c:v>912</c:v>
                </c:pt>
                <c:pt idx="50">
                  <c:v>799</c:v>
                </c:pt>
                <c:pt idx="51">
                  <c:v>665</c:v>
                </c:pt>
                <c:pt idx="52">
                  <c:v>888</c:v>
                </c:pt>
                <c:pt idx="53">
                  <c:v>484</c:v>
                </c:pt>
                <c:pt idx="54">
                  <c:v>282</c:v>
                </c:pt>
                <c:pt idx="55">
                  <c:v>736</c:v>
                </c:pt>
                <c:pt idx="56">
                  <c:v>955</c:v>
                </c:pt>
                <c:pt idx="57">
                  <c:v>877</c:v>
                </c:pt>
                <c:pt idx="58">
                  <c:v>835</c:v>
                </c:pt>
                <c:pt idx="59">
                  <c:v>912</c:v>
                </c:pt>
                <c:pt idx="60">
                  <c:v>439</c:v>
                </c:pt>
                <c:pt idx="61">
                  <c:v>325</c:v>
                </c:pt>
                <c:pt idx="62">
                  <c:v>786</c:v>
                </c:pt>
                <c:pt idx="63">
                  <c:v>972</c:v>
                </c:pt>
                <c:pt idx="64">
                  <c:v>979</c:v>
                </c:pt>
                <c:pt idx="65">
                  <c:v>1061</c:v>
                </c:pt>
                <c:pt idx="66">
                  <c:v>895</c:v>
                </c:pt>
                <c:pt idx="67">
                  <c:v>596</c:v>
                </c:pt>
                <c:pt idx="68">
                  <c:v>338</c:v>
                </c:pt>
                <c:pt idx="69">
                  <c:v>1171</c:v>
                </c:pt>
                <c:pt idx="70">
                  <c:v>1150</c:v>
                </c:pt>
                <c:pt idx="71">
                  <c:v>992</c:v>
                </c:pt>
                <c:pt idx="72">
                  <c:v>1111</c:v>
                </c:pt>
                <c:pt idx="73">
                  <c:v>992</c:v>
                </c:pt>
                <c:pt idx="74">
                  <c:v>835</c:v>
                </c:pt>
                <c:pt idx="75">
                  <c:v>467</c:v>
                </c:pt>
                <c:pt idx="76">
                  <c:v>1081</c:v>
                </c:pt>
                <c:pt idx="77">
                  <c:v>1369</c:v>
                </c:pt>
                <c:pt idx="78">
                  <c:v>1344</c:v>
                </c:pt>
                <c:pt idx="79">
                  <c:v>1378</c:v>
                </c:pt>
                <c:pt idx="80">
                  <c:v>1221</c:v>
                </c:pt>
                <c:pt idx="81">
                  <c:v>975</c:v>
                </c:pt>
                <c:pt idx="82">
                  <c:v>790</c:v>
                </c:pt>
                <c:pt idx="83">
                  <c:v>1268</c:v>
                </c:pt>
                <c:pt idx="84">
                  <c:v>2037</c:v>
                </c:pt>
                <c:pt idx="85">
                  <c:v>1495</c:v>
                </c:pt>
                <c:pt idx="86">
                  <c:v>1675</c:v>
                </c:pt>
                <c:pt idx="87">
                  <c:v>1796</c:v>
                </c:pt>
                <c:pt idx="88">
                  <c:v>1243</c:v>
                </c:pt>
                <c:pt idx="89">
                  <c:v>946</c:v>
                </c:pt>
                <c:pt idx="90">
                  <c:v>1482</c:v>
                </c:pt>
                <c:pt idx="91">
                  <c:v>2012</c:v>
                </c:pt>
                <c:pt idx="92">
                  <c:v>1658</c:v>
                </c:pt>
                <c:pt idx="93">
                  <c:v>1851</c:v>
                </c:pt>
                <c:pt idx="94">
                  <c:v>1461</c:v>
                </c:pt>
                <c:pt idx="95">
                  <c:v>1285</c:v>
                </c:pt>
                <c:pt idx="96">
                  <c:v>642</c:v>
                </c:pt>
                <c:pt idx="97">
                  <c:v>1169</c:v>
                </c:pt>
                <c:pt idx="98">
                  <c:v>1785</c:v>
                </c:pt>
                <c:pt idx="99">
                  <c:v>1706</c:v>
                </c:pt>
                <c:pt idx="100">
                  <c:v>1117</c:v>
                </c:pt>
                <c:pt idx="101">
                  <c:v>1404</c:v>
                </c:pt>
                <c:pt idx="102">
                  <c:v>935</c:v>
                </c:pt>
                <c:pt idx="103">
                  <c:v>508</c:v>
                </c:pt>
                <c:pt idx="104">
                  <c:v>1015</c:v>
                </c:pt>
                <c:pt idx="105">
                  <c:v>1456</c:v>
                </c:pt>
                <c:pt idx="106">
                  <c:v>1207</c:v>
                </c:pt>
                <c:pt idx="107">
                  <c:v>1051</c:v>
                </c:pt>
                <c:pt idx="108">
                  <c:v>1193</c:v>
                </c:pt>
                <c:pt idx="109">
                  <c:v>644</c:v>
                </c:pt>
                <c:pt idx="110">
                  <c:v>337</c:v>
                </c:pt>
                <c:pt idx="111">
                  <c:v>880</c:v>
                </c:pt>
                <c:pt idx="112">
                  <c:v>1008</c:v>
                </c:pt>
                <c:pt idx="113">
                  <c:v>783</c:v>
                </c:pt>
                <c:pt idx="114">
                  <c:v>798</c:v>
                </c:pt>
                <c:pt idx="115">
                  <c:v>779</c:v>
                </c:pt>
                <c:pt idx="116">
                  <c:v>483</c:v>
                </c:pt>
                <c:pt idx="117">
                  <c:v>236</c:v>
                </c:pt>
                <c:pt idx="118">
                  <c:v>663</c:v>
                </c:pt>
                <c:pt idx="119">
                  <c:v>758</c:v>
                </c:pt>
                <c:pt idx="120">
                  <c:v>725</c:v>
                </c:pt>
                <c:pt idx="121">
                  <c:v>471</c:v>
                </c:pt>
                <c:pt idx="122">
                  <c:v>541</c:v>
                </c:pt>
                <c:pt idx="123">
                  <c:v>269</c:v>
                </c:pt>
                <c:pt idx="124">
                  <c:v>255</c:v>
                </c:pt>
                <c:pt idx="125">
                  <c:v>186</c:v>
                </c:pt>
                <c:pt idx="126">
                  <c:v>458</c:v>
                </c:pt>
                <c:pt idx="127">
                  <c:v>641</c:v>
                </c:pt>
                <c:pt idx="128">
                  <c:v>432</c:v>
                </c:pt>
                <c:pt idx="129">
                  <c:v>443</c:v>
                </c:pt>
                <c:pt idx="130">
                  <c:v>277</c:v>
                </c:pt>
                <c:pt idx="131">
                  <c:v>149</c:v>
                </c:pt>
                <c:pt idx="132">
                  <c:v>349</c:v>
                </c:pt>
                <c:pt idx="133">
                  <c:v>435</c:v>
                </c:pt>
                <c:pt idx="134">
                  <c:v>351</c:v>
                </c:pt>
                <c:pt idx="135">
                  <c:v>269</c:v>
                </c:pt>
                <c:pt idx="136">
                  <c:v>343</c:v>
                </c:pt>
                <c:pt idx="137">
                  <c:v>209</c:v>
                </c:pt>
                <c:pt idx="138">
                  <c:v>85</c:v>
                </c:pt>
                <c:pt idx="139">
                  <c:v>260</c:v>
                </c:pt>
                <c:pt idx="140">
                  <c:v>366</c:v>
                </c:pt>
                <c:pt idx="141">
                  <c:v>261</c:v>
                </c:pt>
                <c:pt idx="142">
                  <c:v>212</c:v>
                </c:pt>
                <c:pt idx="143">
                  <c:v>237</c:v>
                </c:pt>
                <c:pt idx="144">
                  <c:v>172</c:v>
                </c:pt>
                <c:pt idx="145">
                  <c:v>95</c:v>
                </c:pt>
                <c:pt idx="146">
                  <c:v>196</c:v>
                </c:pt>
                <c:pt idx="147">
                  <c:v>298</c:v>
                </c:pt>
                <c:pt idx="148">
                  <c:v>231</c:v>
                </c:pt>
                <c:pt idx="149">
                  <c:v>237</c:v>
                </c:pt>
                <c:pt idx="150">
                  <c:v>206</c:v>
                </c:pt>
                <c:pt idx="151">
                  <c:v>126</c:v>
                </c:pt>
                <c:pt idx="152">
                  <c:v>71</c:v>
                </c:pt>
                <c:pt idx="153">
                  <c:v>259</c:v>
                </c:pt>
                <c:pt idx="154">
                  <c:v>185</c:v>
                </c:pt>
                <c:pt idx="155">
                  <c:v>160</c:v>
                </c:pt>
                <c:pt idx="156">
                  <c:v>174</c:v>
                </c:pt>
                <c:pt idx="157">
                  <c:v>183</c:v>
                </c:pt>
                <c:pt idx="158">
                  <c:v>94</c:v>
                </c:pt>
                <c:pt idx="159">
                  <c:v>50</c:v>
                </c:pt>
                <c:pt idx="160">
                  <c:v>136</c:v>
                </c:pt>
                <c:pt idx="161">
                  <c:v>153</c:v>
                </c:pt>
                <c:pt idx="162">
                  <c:v>139</c:v>
                </c:pt>
                <c:pt idx="163">
                  <c:v>101</c:v>
                </c:pt>
                <c:pt idx="164">
                  <c:v>109</c:v>
                </c:pt>
                <c:pt idx="165">
                  <c:v>74</c:v>
                </c:pt>
                <c:pt idx="166">
                  <c:v>30</c:v>
                </c:pt>
                <c:pt idx="167">
                  <c:v>122</c:v>
                </c:pt>
                <c:pt idx="168">
                  <c:v>137</c:v>
                </c:pt>
                <c:pt idx="169">
                  <c:v>94</c:v>
                </c:pt>
                <c:pt idx="170">
                  <c:v>68</c:v>
                </c:pt>
                <c:pt idx="171">
                  <c:v>76</c:v>
                </c:pt>
                <c:pt idx="172">
                  <c:v>60</c:v>
                </c:pt>
                <c:pt idx="173">
                  <c:v>22</c:v>
                </c:pt>
                <c:pt idx="174">
                  <c:v>68</c:v>
                </c:pt>
                <c:pt idx="175">
                  <c:v>71</c:v>
                </c:pt>
                <c:pt idx="176">
                  <c:v>64</c:v>
                </c:pt>
                <c:pt idx="177">
                  <c:v>48</c:v>
                </c:pt>
                <c:pt idx="178">
                  <c:v>52</c:v>
                </c:pt>
                <c:pt idx="179">
                  <c:v>36</c:v>
                </c:pt>
                <c:pt idx="180">
                  <c:v>25</c:v>
                </c:pt>
                <c:pt idx="181">
                  <c:v>37</c:v>
                </c:pt>
                <c:pt idx="182">
                  <c:v>51</c:v>
                </c:pt>
                <c:pt idx="183">
                  <c:v>41</c:v>
                </c:pt>
                <c:pt idx="184">
                  <c:v>76</c:v>
                </c:pt>
                <c:pt idx="185">
                  <c:v>47</c:v>
                </c:pt>
                <c:pt idx="186">
                  <c:v>29</c:v>
                </c:pt>
                <c:pt idx="187">
                  <c:v>22</c:v>
                </c:pt>
                <c:pt idx="188">
                  <c:v>38</c:v>
                </c:pt>
                <c:pt idx="189">
                  <c:v>54</c:v>
                </c:pt>
                <c:pt idx="190">
                  <c:v>27</c:v>
                </c:pt>
                <c:pt idx="191">
                  <c:v>28</c:v>
                </c:pt>
                <c:pt idx="192">
                  <c:v>28</c:v>
                </c:pt>
                <c:pt idx="193">
                  <c:v>17</c:v>
                </c:pt>
                <c:pt idx="194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4B-430D-AC3E-99694821CD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14B-430D-AC3E-99694821CDB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646</c:v>
                </c:pt>
                <c:pt idx="122">
                  <c:v>628</c:v>
                </c:pt>
                <c:pt idx="123">
                  <c:v>611</c:v>
                </c:pt>
                <c:pt idx="124">
                  <c:v>594</c:v>
                </c:pt>
                <c:pt idx="125">
                  <c:v>577</c:v>
                </c:pt>
                <c:pt idx="126">
                  <c:v>561</c:v>
                </c:pt>
                <c:pt idx="127">
                  <c:v>545</c:v>
                </c:pt>
                <c:pt idx="128">
                  <c:v>529</c:v>
                </c:pt>
                <c:pt idx="129">
                  <c:v>514</c:v>
                </c:pt>
                <c:pt idx="130">
                  <c:v>499</c:v>
                </c:pt>
                <c:pt idx="131">
                  <c:v>485</c:v>
                </c:pt>
                <c:pt idx="132">
                  <c:v>471</c:v>
                </c:pt>
                <c:pt idx="133">
                  <c:v>457</c:v>
                </c:pt>
                <c:pt idx="134">
                  <c:v>444</c:v>
                </c:pt>
                <c:pt idx="135">
                  <c:v>431</c:v>
                </c:pt>
                <c:pt idx="136">
                  <c:v>418</c:v>
                </c:pt>
                <c:pt idx="137">
                  <c:v>406</c:v>
                </c:pt>
                <c:pt idx="138">
                  <c:v>393</c:v>
                </c:pt>
                <c:pt idx="139">
                  <c:v>382</c:v>
                </c:pt>
                <c:pt idx="140">
                  <c:v>370</c:v>
                </c:pt>
                <c:pt idx="141">
                  <c:v>358</c:v>
                </c:pt>
                <c:pt idx="142">
                  <c:v>347</c:v>
                </c:pt>
                <c:pt idx="143">
                  <c:v>336</c:v>
                </c:pt>
                <c:pt idx="144">
                  <c:v>326</c:v>
                </c:pt>
                <c:pt idx="145">
                  <c:v>315</c:v>
                </c:pt>
                <c:pt idx="146">
                  <c:v>305</c:v>
                </c:pt>
                <c:pt idx="147">
                  <c:v>295</c:v>
                </c:pt>
                <c:pt idx="148">
                  <c:v>285</c:v>
                </c:pt>
                <c:pt idx="149">
                  <c:v>275</c:v>
                </c:pt>
                <c:pt idx="150">
                  <c:v>266</c:v>
                </c:pt>
                <c:pt idx="151">
                  <c:v>257</c:v>
                </c:pt>
                <c:pt idx="152">
                  <c:v>248</c:v>
                </c:pt>
                <c:pt idx="153">
                  <c:v>239</c:v>
                </c:pt>
                <c:pt idx="154">
                  <c:v>231</c:v>
                </c:pt>
                <c:pt idx="155">
                  <c:v>223</c:v>
                </c:pt>
                <c:pt idx="156">
                  <c:v>215</c:v>
                </c:pt>
                <c:pt idx="157">
                  <c:v>207</c:v>
                </c:pt>
                <c:pt idx="158">
                  <c:v>199</c:v>
                </c:pt>
                <c:pt idx="159">
                  <c:v>191</c:v>
                </c:pt>
                <c:pt idx="160">
                  <c:v>184</c:v>
                </c:pt>
                <c:pt idx="161">
                  <c:v>177</c:v>
                </c:pt>
                <c:pt idx="162">
                  <c:v>170</c:v>
                </c:pt>
                <c:pt idx="163">
                  <c:v>164</c:v>
                </c:pt>
                <c:pt idx="164">
                  <c:v>157</c:v>
                </c:pt>
                <c:pt idx="165">
                  <c:v>151</c:v>
                </c:pt>
                <c:pt idx="166">
                  <c:v>144</c:v>
                </c:pt>
                <c:pt idx="167">
                  <c:v>138</c:v>
                </c:pt>
                <c:pt idx="168">
                  <c:v>133</c:v>
                </c:pt>
                <c:pt idx="169">
                  <c:v>127</c:v>
                </c:pt>
                <c:pt idx="170">
                  <c:v>121</c:v>
                </c:pt>
                <c:pt idx="171">
                  <c:v>116</c:v>
                </c:pt>
                <c:pt idx="172">
                  <c:v>111</c:v>
                </c:pt>
                <c:pt idx="173">
                  <c:v>105</c:v>
                </c:pt>
                <c:pt idx="174">
                  <c:v>100</c:v>
                </c:pt>
                <c:pt idx="175">
                  <c:v>95</c:v>
                </c:pt>
                <c:pt idx="176">
                  <c:v>90</c:v>
                </c:pt>
                <c:pt idx="177">
                  <c:v>86</c:v>
                </c:pt>
                <c:pt idx="178">
                  <c:v>81</c:v>
                </c:pt>
                <c:pt idx="179">
                  <c:v>77</c:v>
                </c:pt>
                <c:pt idx="180">
                  <c:v>73</c:v>
                </c:pt>
                <c:pt idx="181">
                  <c:v>68</c:v>
                </c:pt>
                <c:pt idx="182">
                  <c:v>65</c:v>
                </c:pt>
                <c:pt idx="183">
                  <c:v>61</c:v>
                </c:pt>
                <c:pt idx="184">
                  <c:v>57</c:v>
                </c:pt>
                <c:pt idx="185">
                  <c:v>54</c:v>
                </c:pt>
                <c:pt idx="186">
                  <c:v>51</c:v>
                </c:pt>
                <c:pt idx="187">
                  <c:v>48</c:v>
                </c:pt>
                <c:pt idx="188">
                  <c:v>45</c:v>
                </c:pt>
                <c:pt idx="189">
                  <c:v>43</c:v>
                </c:pt>
                <c:pt idx="190">
                  <c:v>40</c:v>
                </c:pt>
                <c:pt idx="191">
                  <c:v>38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0</c:v>
                </c:pt>
                <c:pt idx="196">
                  <c:v>28</c:v>
                </c:pt>
                <c:pt idx="197">
                  <c:v>26</c:v>
                </c:pt>
                <c:pt idx="198">
                  <c:v>25</c:v>
                </c:pt>
                <c:pt idx="199">
                  <c:v>23</c:v>
                </c:pt>
                <c:pt idx="200">
                  <c:v>22</c:v>
                </c:pt>
                <c:pt idx="201">
                  <c:v>20</c:v>
                </c:pt>
                <c:pt idx="202">
                  <c:v>19</c:v>
                </c:pt>
                <c:pt idx="203">
                  <c:v>18</c:v>
                </c:pt>
                <c:pt idx="204">
                  <c:v>16</c:v>
                </c:pt>
                <c:pt idx="205">
                  <c:v>15</c:v>
                </c:pt>
                <c:pt idx="206">
                  <c:v>14</c:v>
                </c:pt>
                <c:pt idx="207">
                  <c:v>13</c:v>
                </c:pt>
                <c:pt idx="208">
                  <c:v>12</c:v>
                </c:pt>
                <c:pt idx="209">
                  <c:v>12</c:v>
                </c:pt>
                <c:pt idx="210">
                  <c:v>11</c:v>
                </c:pt>
                <c:pt idx="211">
                  <c:v>10</c:v>
                </c:pt>
                <c:pt idx="212">
                  <c:v>9</c:v>
                </c:pt>
                <c:pt idx="213">
                  <c:v>8</c:v>
                </c:pt>
                <c:pt idx="214">
                  <c:v>8</c:v>
                </c:pt>
                <c:pt idx="215">
                  <c:v>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14B-430D-AC3E-99694821CDB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646</c:v>
                </c:pt>
                <c:pt idx="122">
                  <c:v>628</c:v>
                </c:pt>
                <c:pt idx="123">
                  <c:v>611</c:v>
                </c:pt>
                <c:pt idx="124">
                  <c:v>594</c:v>
                </c:pt>
                <c:pt idx="125">
                  <c:v>577</c:v>
                </c:pt>
                <c:pt idx="126">
                  <c:v>561</c:v>
                </c:pt>
                <c:pt idx="127">
                  <c:v>545</c:v>
                </c:pt>
                <c:pt idx="128">
                  <c:v>529</c:v>
                </c:pt>
                <c:pt idx="129">
                  <c:v>514</c:v>
                </c:pt>
                <c:pt idx="130">
                  <c:v>499</c:v>
                </c:pt>
                <c:pt idx="131">
                  <c:v>485</c:v>
                </c:pt>
                <c:pt idx="132">
                  <c:v>471</c:v>
                </c:pt>
                <c:pt idx="133">
                  <c:v>457</c:v>
                </c:pt>
                <c:pt idx="134">
                  <c:v>444</c:v>
                </c:pt>
                <c:pt idx="135">
                  <c:v>431</c:v>
                </c:pt>
                <c:pt idx="136">
                  <c:v>418</c:v>
                </c:pt>
                <c:pt idx="137">
                  <c:v>406</c:v>
                </c:pt>
                <c:pt idx="138">
                  <c:v>393</c:v>
                </c:pt>
                <c:pt idx="139">
                  <c:v>382</c:v>
                </c:pt>
                <c:pt idx="140">
                  <c:v>370</c:v>
                </c:pt>
                <c:pt idx="141">
                  <c:v>358</c:v>
                </c:pt>
                <c:pt idx="142">
                  <c:v>347</c:v>
                </c:pt>
                <c:pt idx="143">
                  <c:v>336</c:v>
                </c:pt>
                <c:pt idx="144">
                  <c:v>326</c:v>
                </c:pt>
                <c:pt idx="145">
                  <c:v>315</c:v>
                </c:pt>
                <c:pt idx="146">
                  <c:v>305</c:v>
                </c:pt>
                <c:pt idx="147">
                  <c:v>295</c:v>
                </c:pt>
                <c:pt idx="148">
                  <c:v>285</c:v>
                </c:pt>
                <c:pt idx="149">
                  <c:v>275</c:v>
                </c:pt>
                <c:pt idx="150">
                  <c:v>266</c:v>
                </c:pt>
                <c:pt idx="151">
                  <c:v>257</c:v>
                </c:pt>
                <c:pt idx="152">
                  <c:v>248</c:v>
                </c:pt>
                <c:pt idx="153">
                  <c:v>239</c:v>
                </c:pt>
                <c:pt idx="154">
                  <c:v>231</c:v>
                </c:pt>
                <c:pt idx="155">
                  <c:v>223</c:v>
                </c:pt>
                <c:pt idx="156">
                  <c:v>215</c:v>
                </c:pt>
                <c:pt idx="157">
                  <c:v>207</c:v>
                </c:pt>
                <c:pt idx="158">
                  <c:v>199</c:v>
                </c:pt>
                <c:pt idx="159">
                  <c:v>191</c:v>
                </c:pt>
                <c:pt idx="160">
                  <c:v>184</c:v>
                </c:pt>
                <c:pt idx="161">
                  <c:v>177</c:v>
                </c:pt>
                <c:pt idx="162">
                  <c:v>170</c:v>
                </c:pt>
                <c:pt idx="163">
                  <c:v>164</c:v>
                </c:pt>
                <c:pt idx="164">
                  <c:v>157</c:v>
                </c:pt>
                <c:pt idx="165">
                  <c:v>151</c:v>
                </c:pt>
                <c:pt idx="166">
                  <c:v>144</c:v>
                </c:pt>
                <c:pt idx="167">
                  <c:v>138</c:v>
                </c:pt>
                <c:pt idx="168">
                  <c:v>136</c:v>
                </c:pt>
                <c:pt idx="169">
                  <c:v>134</c:v>
                </c:pt>
                <c:pt idx="170">
                  <c:v>134</c:v>
                </c:pt>
                <c:pt idx="171">
                  <c:v>133</c:v>
                </c:pt>
                <c:pt idx="172">
                  <c:v>133</c:v>
                </c:pt>
                <c:pt idx="173">
                  <c:v>133</c:v>
                </c:pt>
                <c:pt idx="174">
                  <c:v>132</c:v>
                </c:pt>
                <c:pt idx="175">
                  <c:v>134</c:v>
                </c:pt>
                <c:pt idx="176">
                  <c:v>137</c:v>
                </c:pt>
                <c:pt idx="177">
                  <c:v>140</c:v>
                </c:pt>
                <c:pt idx="178">
                  <c:v>144</c:v>
                </c:pt>
                <c:pt idx="179">
                  <c:v>147</c:v>
                </c:pt>
                <c:pt idx="180">
                  <c:v>151</c:v>
                </c:pt>
                <c:pt idx="181">
                  <c:v>155</c:v>
                </c:pt>
                <c:pt idx="182">
                  <c:v>158</c:v>
                </c:pt>
                <c:pt idx="183">
                  <c:v>162</c:v>
                </c:pt>
                <c:pt idx="184">
                  <c:v>166</c:v>
                </c:pt>
                <c:pt idx="185">
                  <c:v>170</c:v>
                </c:pt>
                <c:pt idx="186">
                  <c:v>173</c:v>
                </c:pt>
                <c:pt idx="187">
                  <c:v>177</c:v>
                </c:pt>
                <c:pt idx="188">
                  <c:v>181</c:v>
                </c:pt>
                <c:pt idx="189">
                  <c:v>186</c:v>
                </c:pt>
                <c:pt idx="190">
                  <c:v>190</c:v>
                </c:pt>
                <c:pt idx="191">
                  <c:v>194</c:v>
                </c:pt>
                <c:pt idx="192">
                  <c:v>199</c:v>
                </c:pt>
                <c:pt idx="193">
                  <c:v>203</c:v>
                </c:pt>
                <c:pt idx="194">
                  <c:v>207</c:v>
                </c:pt>
                <c:pt idx="195">
                  <c:v>211</c:v>
                </c:pt>
                <c:pt idx="196">
                  <c:v>215</c:v>
                </c:pt>
                <c:pt idx="197">
                  <c:v>218</c:v>
                </c:pt>
                <c:pt idx="198">
                  <c:v>221</c:v>
                </c:pt>
                <c:pt idx="199">
                  <c:v>225</c:v>
                </c:pt>
                <c:pt idx="200">
                  <c:v>227</c:v>
                </c:pt>
                <c:pt idx="201">
                  <c:v>230</c:v>
                </c:pt>
                <c:pt idx="202">
                  <c:v>232</c:v>
                </c:pt>
                <c:pt idx="203">
                  <c:v>234</c:v>
                </c:pt>
                <c:pt idx="204">
                  <c:v>236</c:v>
                </c:pt>
                <c:pt idx="205">
                  <c:v>237</c:v>
                </c:pt>
                <c:pt idx="206">
                  <c:v>238</c:v>
                </c:pt>
                <c:pt idx="207">
                  <c:v>238</c:v>
                </c:pt>
                <c:pt idx="208">
                  <c:v>238</c:v>
                </c:pt>
                <c:pt idx="209">
                  <c:v>238</c:v>
                </c:pt>
                <c:pt idx="210">
                  <c:v>237</c:v>
                </c:pt>
                <c:pt idx="211">
                  <c:v>236</c:v>
                </c:pt>
                <c:pt idx="212">
                  <c:v>235</c:v>
                </c:pt>
                <c:pt idx="213">
                  <c:v>233</c:v>
                </c:pt>
                <c:pt idx="214">
                  <c:v>231</c:v>
                </c:pt>
                <c:pt idx="215">
                  <c:v>2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14B-430D-AC3E-99694821CDB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14B-430D-AC3E-99694821CDB2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14B-430D-AC3E-99694821CD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840</c:v>
                </c:pt>
                <c:pt idx="1">
                  <c:v>485</c:v>
                </c:pt>
                <c:pt idx="2">
                  <c:v>625</c:v>
                </c:pt>
                <c:pt idx="3">
                  <c:v>580</c:v>
                </c:pt>
                <c:pt idx="4">
                  <c:v>421</c:v>
                </c:pt>
                <c:pt idx="5">
                  <c:v>150</c:v>
                </c:pt>
                <c:pt idx="6">
                  <c:v>594</c:v>
                </c:pt>
                <c:pt idx="7">
                  <c:v>886</c:v>
                </c:pt>
                <c:pt idx="8">
                  <c:v>821</c:v>
                </c:pt>
                <c:pt idx="9">
                  <c:v>806</c:v>
                </c:pt>
                <c:pt idx="10">
                  <c:v>858</c:v>
                </c:pt>
                <c:pt idx="11">
                  <c:v>576</c:v>
                </c:pt>
                <c:pt idx="12">
                  <c:v>142</c:v>
                </c:pt>
                <c:pt idx="13">
                  <c:v>767</c:v>
                </c:pt>
                <c:pt idx="14">
                  <c:v>1072</c:v>
                </c:pt>
                <c:pt idx="15">
                  <c:v>968</c:v>
                </c:pt>
                <c:pt idx="16">
                  <c:v>1106</c:v>
                </c:pt>
                <c:pt idx="17">
                  <c:v>1132</c:v>
                </c:pt>
                <c:pt idx="18">
                  <c:v>760</c:v>
                </c:pt>
                <c:pt idx="19">
                  <c:v>282</c:v>
                </c:pt>
                <c:pt idx="20">
                  <c:v>1024</c:v>
                </c:pt>
                <c:pt idx="21">
                  <c:v>1552</c:v>
                </c:pt>
                <c:pt idx="22">
                  <c:v>1776</c:v>
                </c:pt>
                <c:pt idx="23">
                  <c:v>634</c:v>
                </c:pt>
                <c:pt idx="24">
                  <c:v>288</c:v>
                </c:pt>
                <c:pt idx="25">
                  <c:v>344</c:v>
                </c:pt>
                <c:pt idx="26">
                  <c:v>494</c:v>
                </c:pt>
                <c:pt idx="27">
                  <c:v>1604</c:v>
                </c:pt>
                <c:pt idx="28">
                  <c:v>2377</c:v>
                </c:pt>
                <c:pt idx="29">
                  <c:v>2378</c:v>
                </c:pt>
                <c:pt idx="30">
                  <c:v>2241</c:v>
                </c:pt>
                <c:pt idx="31">
                  <c:v>364</c:v>
                </c:pt>
                <c:pt idx="32">
                  <c:v>572</c:v>
                </c:pt>
                <c:pt idx="33">
                  <c:v>822</c:v>
                </c:pt>
                <c:pt idx="34">
                  <c:v>1602</c:v>
                </c:pt>
                <c:pt idx="35">
                  <c:v>2644</c:v>
                </c:pt>
                <c:pt idx="36">
                  <c:v>2266</c:v>
                </c:pt>
                <c:pt idx="37">
                  <c:v>1976</c:v>
                </c:pt>
                <c:pt idx="38">
                  <c:v>1579</c:v>
                </c:pt>
                <c:pt idx="39">
                  <c:v>999</c:v>
                </c:pt>
                <c:pt idx="40">
                  <c:v>376</c:v>
                </c:pt>
                <c:pt idx="41">
                  <c:v>1141</c:v>
                </c:pt>
                <c:pt idx="42">
                  <c:v>1414</c:v>
                </c:pt>
                <c:pt idx="43">
                  <c:v>1495</c:v>
                </c:pt>
                <c:pt idx="44">
                  <c:v>1001</c:v>
                </c:pt>
                <c:pt idx="45">
                  <c:v>1210</c:v>
                </c:pt>
                <c:pt idx="46">
                  <c:v>688</c:v>
                </c:pt>
                <c:pt idx="47">
                  <c:v>198</c:v>
                </c:pt>
                <c:pt idx="48">
                  <c:v>1049</c:v>
                </c:pt>
                <c:pt idx="49">
                  <c:v>1242</c:v>
                </c:pt>
                <c:pt idx="50">
                  <c:v>1139</c:v>
                </c:pt>
                <c:pt idx="51">
                  <c:v>1011</c:v>
                </c:pt>
                <c:pt idx="52">
                  <c:v>1125</c:v>
                </c:pt>
                <c:pt idx="53">
                  <c:v>611</c:v>
                </c:pt>
                <c:pt idx="54">
                  <c:v>233</c:v>
                </c:pt>
                <c:pt idx="55">
                  <c:v>1028</c:v>
                </c:pt>
                <c:pt idx="56">
                  <c:v>1257</c:v>
                </c:pt>
                <c:pt idx="57">
                  <c:v>1187</c:v>
                </c:pt>
                <c:pt idx="58">
                  <c:v>952</c:v>
                </c:pt>
                <c:pt idx="59">
                  <c:v>1025</c:v>
                </c:pt>
                <c:pt idx="60">
                  <c:v>516</c:v>
                </c:pt>
                <c:pt idx="61">
                  <c:v>259</c:v>
                </c:pt>
                <c:pt idx="62">
                  <c:v>1067</c:v>
                </c:pt>
                <c:pt idx="63">
                  <c:v>1474</c:v>
                </c:pt>
                <c:pt idx="64">
                  <c:v>1323</c:v>
                </c:pt>
                <c:pt idx="65">
                  <c:v>1193</c:v>
                </c:pt>
                <c:pt idx="66">
                  <c:v>1301</c:v>
                </c:pt>
                <c:pt idx="67">
                  <c:v>780</c:v>
                </c:pt>
                <c:pt idx="68">
                  <c:v>287</c:v>
                </c:pt>
                <c:pt idx="69">
                  <c:v>1237</c:v>
                </c:pt>
                <c:pt idx="70">
                  <c:v>1446</c:v>
                </c:pt>
                <c:pt idx="71">
                  <c:v>1549</c:v>
                </c:pt>
                <c:pt idx="72">
                  <c:v>1356</c:v>
                </c:pt>
                <c:pt idx="73">
                  <c:v>1208</c:v>
                </c:pt>
                <c:pt idx="74">
                  <c:v>965</c:v>
                </c:pt>
                <c:pt idx="75">
                  <c:v>381</c:v>
                </c:pt>
                <c:pt idx="76">
                  <c:v>1361</c:v>
                </c:pt>
                <c:pt idx="77">
                  <c:v>2017</c:v>
                </c:pt>
                <c:pt idx="78">
                  <c:v>1826</c:v>
                </c:pt>
                <c:pt idx="79">
                  <c:v>1867</c:v>
                </c:pt>
                <c:pt idx="80">
                  <c:v>1982</c:v>
                </c:pt>
                <c:pt idx="81">
                  <c:v>1260</c:v>
                </c:pt>
                <c:pt idx="82">
                  <c:v>669</c:v>
                </c:pt>
                <c:pt idx="83">
                  <c:v>1795</c:v>
                </c:pt>
                <c:pt idx="84">
                  <c:v>2595</c:v>
                </c:pt>
                <c:pt idx="85">
                  <c:v>2202</c:v>
                </c:pt>
                <c:pt idx="86">
                  <c:v>2398</c:v>
                </c:pt>
                <c:pt idx="87">
                  <c:v>2377</c:v>
                </c:pt>
                <c:pt idx="88">
                  <c:v>1559</c:v>
                </c:pt>
                <c:pt idx="89">
                  <c:v>796</c:v>
                </c:pt>
                <c:pt idx="90">
                  <c:v>1927</c:v>
                </c:pt>
                <c:pt idx="91">
                  <c:v>2909</c:v>
                </c:pt>
                <c:pt idx="92">
                  <c:v>2451</c:v>
                </c:pt>
                <c:pt idx="93">
                  <c:v>2612</c:v>
                </c:pt>
                <c:pt idx="94">
                  <c:v>2161</c:v>
                </c:pt>
                <c:pt idx="95">
                  <c:v>1763</c:v>
                </c:pt>
                <c:pt idx="96">
                  <c:v>703</c:v>
                </c:pt>
                <c:pt idx="97">
                  <c:v>1560</c:v>
                </c:pt>
                <c:pt idx="98">
                  <c:v>2642</c:v>
                </c:pt>
                <c:pt idx="99">
                  <c:v>2375</c:v>
                </c:pt>
                <c:pt idx="100">
                  <c:v>1703</c:v>
                </c:pt>
                <c:pt idx="101">
                  <c:v>2455</c:v>
                </c:pt>
                <c:pt idx="102">
                  <c:v>1286</c:v>
                </c:pt>
                <c:pt idx="103">
                  <c:v>558</c:v>
                </c:pt>
                <c:pt idx="104">
                  <c:v>1448</c:v>
                </c:pt>
                <c:pt idx="105">
                  <c:v>2332</c:v>
                </c:pt>
                <c:pt idx="106">
                  <c:v>1792</c:v>
                </c:pt>
                <c:pt idx="107">
                  <c:v>1578</c:v>
                </c:pt>
                <c:pt idx="108">
                  <c:v>1532</c:v>
                </c:pt>
                <c:pt idx="109">
                  <c:v>878</c:v>
                </c:pt>
                <c:pt idx="110">
                  <c:v>343</c:v>
                </c:pt>
                <c:pt idx="111">
                  <c:v>1240</c:v>
                </c:pt>
                <c:pt idx="112">
                  <c:v>1691</c:v>
                </c:pt>
                <c:pt idx="113">
                  <c:v>1202</c:v>
                </c:pt>
                <c:pt idx="114">
                  <c:v>1118</c:v>
                </c:pt>
                <c:pt idx="115">
                  <c:v>1196</c:v>
                </c:pt>
                <c:pt idx="116">
                  <c:v>598</c:v>
                </c:pt>
                <c:pt idx="117">
                  <c:v>233</c:v>
                </c:pt>
                <c:pt idx="118">
                  <c:v>970</c:v>
                </c:pt>
                <c:pt idx="119">
                  <c:v>1255</c:v>
                </c:pt>
                <c:pt idx="120">
                  <c:v>890</c:v>
                </c:pt>
                <c:pt idx="121">
                  <c:v>663</c:v>
                </c:pt>
                <c:pt idx="122">
                  <c:v>478</c:v>
                </c:pt>
                <c:pt idx="123">
                  <c:v>309</c:v>
                </c:pt>
                <c:pt idx="124">
                  <c:v>267</c:v>
                </c:pt>
                <c:pt idx="125">
                  <c:v>233</c:v>
                </c:pt>
                <c:pt idx="126">
                  <c:v>750</c:v>
                </c:pt>
                <c:pt idx="127">
                  <c:v>900</c:v>
                </c:pt>
                <c:pt idx="128">
                  <c:v>527</c:v>
                </c:pt>
                <c:pt idx="129">
                  <c:v>506</c:v>
                </c:pt>
                <c:pt idx="130">
                  <c:v>282</c:v>
                </c:pt>
                <c:pt idx="131">
                  <c:v>135</c:v>
                </c:pt>
                <c:pt idx="132">
                  <c:v>438</c:v>
                </c:pt>
                <c:pt idx="133">
                  <c:v>561</c:v>
                </c:pt>
                <c:pt idx="134">
                  <c:v>441</c:v>
                </c:pt>
                <c:pt idx="135">
                  <c:v>360</c:v>
                </c:pt>
                <c:pt idx="136">
                  <c:v>360</c:v>
                </c:pt>
                <c:pt idx="137">
                  <c:v>188</c:v>
                </c:pt>
                <c:pt idx="138">
                  <c:v>91</c:v>
                </c:pt>
                <c:pt idx="139">
                  <c:v>352</c:v>
                </c:pt>
                <c:pt idx="140">
                  <c:v>462</c:v>
                </c:pt>
                <c:pt idx="141">
                  <c:v>271</c:v>
                </c:pt>
                <c:pt idx="142">
                  <c:v>320</c:v>
                </c:pt>
                <c:pt idx="143">
                  <c:v>254</c:v>
                </c:pt>
                <c:pt idx="144">
                  <c:v>187</c:v>
                </c:pt>
                <c:pt idx="145">
                  <c:v>92</c:v>
                </c:pt>
                <c:pt idx="146">
                  <c:v>342</c:v>
                </c:pt>
                <c:pt idx="147">
                  <c:v>328</c:v>
                </c:pt>
                <c:pt idx="148">
                  <c:v>251</c:v>
                </c:pt>
                <c:pt idx="149">
                  <c:v>222</c:v>
                </c:pt>
                <c:pt idx="150">
                  <c:v>239</c:v>
                </c:pt>
                <c:pt idx="151">
                  <c:v>113</c:v>
                </c:pt>
                <c:pt idx="152">
                  <c:v>64</c:v>
                </c:pt>
                <c:pt idx="153">
                  <c:v>279</c:v>
                </c:pt>
                <c:pt idx="154">
                  <c:v>278</c:v>
                </c:pt>
                <c:pt idx="155">
                  <c:v>158</c:v>
                </c:pt>
                <c:pt idx="156">
                  <c:v>167</c:v>
                </c:pt>
                <c:pt idx="157">
                  <c:v>165</c:v>
                </c:pt>
                <c:pt idx="158">
                  <c:v>90</c:v>
                </c:pt>
                <c:pt idx="159">
                  <c:v>32</c:v>
                </c:pt>
                <c:pt idx="160">
                  <c:v>118</c:v>
                </c:pt>
                <c:pt idx="161">
                  <c:v>196</c:v>
                </c:pt>
                <c:pt idx="162">
                  <c:v>130</c:v>
                </c:pt>
                <c:pt idx="163">
                  <c:v>142</c:v>
                </c:pt>
                <c:pt idx="164">
                  <c:v>128</c:v>
                </c:pt>
                <c:pt idx="165">
                  <c:v>67</c:v>
                </c:pt>
                <c:pt idx="166">
                  <c:v>19</c:v>
                </c:pt>
                <c:pt idx="167">
                  <c:v>119</c:v>
                </c:pt>
                <c:pt idx="168">
                  <c:v>121</c:v>
                </c:pt>
                <c:pt idx="169">
                  <c:v>59</c:v>
                </c:pt>
                <c:pt idx="170">
                  <c:v>43</c:v>
                </c:pt>
                <c:pt idx="171">
                  <c:v>66</c:v>
                </c:pt>
                <c:pt idx="172">
                  <c:v>22</c:v>
                </c:pt>
                <c:pt idx="173">
                  <c:v>12</c:v>
                </c:pt>
                <c:pt idx="174">
                  <c:v>80</c:v>
                </c:pt>
                <c:pt idx="175">
                  <c:v>46</c:v>
                </c:pt>
                <c:pt idx="176">
                  <c:v>47</c:v>
                </c:pt>
                <c:pt idx="177">
                  <c:v>47</c:v>
                </c:pt>
                <c:pt idx="178">
                  <c:v>43</c:v>
                </c:pt>
                <c:pt idx="179">
                  <c:v>26</c:v>
                </c:pt>
                <c:pt idx="180">
                  <c:v>13</c:v>
                </c:pt>
                <c:pt idx="181">
                  <c:v>72</c:v>
                </c:pt>
                <c:pt idx="182">
                  <c:v>45</c:v>
                </c:pt>
                <c:pt idx="183">
                  <c:v>39</c:v>
                </c:pt>
                <c:pt idx="184">
                  <c:v>41</c:v>
                </c:pt>
                <c:pt idx="185">
                  <c:v>17</c:v>
                </c:pt>
                <c:pt idx="186">
                  <c:v>17</c:v>
                </c:pt>
                <c:pt idx="187">
                  <c:v>23</c:v>
                </c:pt>
                <c:pt idx="188">
                  <c:v>36</c:v>
                </c:pt>
                <c:pt idx="189">
                  <c:v>47</c:v>
                </c:pt>
                <c:pt idx="190">
                  <c:v>28</c:v>
                </c:pt>
                <c:pt idx="191">
                  <c:v>17</c:v>
                </c:pt>
                <c:pt idx="192">
                  <c:v>16</c:v>
                </c:pt>
                <c:pt idx="193">
                  <c:v>7</c:v>
                </c:pt>
                <c:pt idx="194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956-4BCC-8CF9-51A5476078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956-4BCC-8CF9-51A54760781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625</c:v>
                </c:pt>
                <c:pt idx="122">
                  <c:v>607</c:v>
                </c:pt>
                <c:pt idx="123">
                  <c:v>590</c:v>
                </c:pt>
                <c:pt idx="124">
                  <c:v>574</c:v>
                </c:pt>
                <c:pt idx="125">
                  <c:v>558</c:v>
                </c:pt>
                <c:pt idx="126">
                  <c:v>542</c:v>
                </c:pt>
                <c:pt idx="127">
                  <c:v>527</c:v>
                </c:pt>
                <c:pt idx="128">
                  <c:v>512</c:v>
                </c:pt>
                <c:pt idx="129">
                  <c:v>497</c:v>
                </c:pt>
                <c:pt idx="130">
                  <c:v>483</c:v>
                </c:pt>
                <c:pt idx="131">
                  <c:v>469</c:v>
                </c:pt>
                <c:pt idx="132">
                  <c:v>455</c:v>
                </c:pt>
                <c:pt idx="133">
                  <c:v>442</c:v>
                </c:pt>
                <c:pt idx="134">
                  <c:v>429</c:v>
                </c:pt>
                <c:pt idx="135">
                  <c:v>416</c:v>
                </c:pt>
                <c:pt idx="136">
                  <c:v>404</c:v>
                </c:pt>
                <c:pt idx="137">
                  <c:v>392</c:v>
                </c:pt>
                <c:pt idx="138">
                  <c:v>380</c:v>
                </c:pt>
                <c:pt idx="139">
                  <c:v>369</c:v>
                </c:pt>
                <c:pt idx="140">
                  <c:v>358</c:v>
                </c:pt>
                <c:pt idx="141">
                  <c:v>346</c:v>
                </c:pt>
                <c:pt idx="142">
                  <c:v>336</c:v>
                </c:pt>
                <c:pt idx="143">
                  <c:v>325</c:v>
                </c:pt>
                <c:pt idx="144">
                  <c:v>315</c:v>
                </c:pt>
                <c:pt idx="145">
                  <c:v>304</c:v>
                </c:pt>
                <c:pt idx="146">
                  <c:v>295</c:v>
                </c:pt>
                <c:pt idx="147">
                  <c:v>285</c:v>
                </c:pt>
                <c:pt idx="148">
                  <c:v>276</c:v>
                </c:pt>
                <c:pt idx="149">
                  <c:v>266</c:v>
                </c:pt>
                <c:pt idx="150">
                  <c:v>257</c:v>
                </c:pt>
                <c:pt idx="151">
                  <c:v>248</c:v>
                </c:pt>
                <c:pt idx="152">
                  <c:v>240</c:v>
                </c:pt>
                <c:pt idx="153">
                  <c:v>231</c:v>
                </c:pt>
                <c:pt idx="154">
                  <c:v>223</c:v>
                </c:pt>
                <c:pt idx="155">
                  <c:v>215</c:v>
                </c:pt>
                <c:pt idx="156">
                  <c:v>207</c:v>
                </c:pt>
                <c:pt idx="157">
                  <c:v>200</c:v>
                </c:pt>
                <c:pt idx="158">
                  <c:v>192</c:v>
                </c:pt>
                <c:pt idx="159">
                  <c:v>185</c:v>
                </c:pt>
                <c:pt idx="160">
                  <c:v>178</c:v>
                </c:pt>
                <c:pt idx="161">
                  <c:v>171</c:v>
                </c:pt>
                <c:pt idx="162">
                  <c:v>165</c:v>
                </c:pt>
                <c:pt idx="163">
                  <c:v>158</c:v>
                </c:pt>
                <c:pt idx="164">
                  <c:v>152</c:v>
                </c:pt>
                <c:pt idx="165">
                  <c:v>146</c:v>
                </c:pt>
                <c:pt idx="166">
                  <c:v>140</c:v>
                </c:pt>
                <c:pt idx="167">
                  <c:v>134</c:v>
                </c:pt>
                <c:pt idx="168">
                  <c:v>128</c:v>
                </c:pt>
                <c:pt idx="169">
                  <c:v>123</c:v>
                </c:pt>
                <c:pt idx="170">
                  <c:v>117</c:v>
                </c:pt>
                <c:pt idx="171">
                  <c:v>112</c:v>
                </c:pt>
                <c:pt idx="172">
                  <c:v>107</c:v>
                </c:pt>
                <c:pt idx="173">
                  <c:v>102</c:v>
                </c:pt>
                <c:pt idx="174">
                  <c:v>97</c:v>
                </c:pt>
                <c:pt idx="175">
                  <c:v>92</c:v>
                </c:pt>
                <c:pt idx="176">
                  <c:v>87</c:v>
                </c:pt>
                <c:pt idx="177">
                  <c:v>83</c:v>
                </c:pt>
                <c:pt idx="178">
                  <c:v>78</c:v>
                </c:pt>
                <c:pt idx="179">
                  <c:v>74</c:v>
                </c:pt>
                <c:pt idx="180">
                  <c:v>70</c:v>
                </c:pt>
                <c:pt idx="181">
                  <c:v>66</c:v>
                </c:pt>
                <c:pt idx="182">
                  <c:v>62</c:v>
                </c:pt>
                <c:pt idx="183">
                  <c:v>59</c:v>
                </c:pt>
                <c:pt idx="184">
                  <c:v>55</c:v>
                </c:pt>
                <c:pt idx="185">
                  <c:v>52</c:v>
                </c:pt>
                <c:pt idx="186">
                  <c:v>49</c:v>
                </c:pt>
                <c:pt idx="187">
                  <c:v>46</c:v>
                </c:pt>
                <c:pt idx="188">
                  <c:v>44</c:v>
                </c:pt>
                <c:pt idx="189">
                  <c:v>41</c:v>
                </c:pt>
                <c:pt idx="190">
                  <c:v>39</c:v>
                </c:pt>
                <c:pt idx="191">
                  <c:v>36</c:v>
                </c:pt>
                <c:pt idx="192">
                  <c:v>34</c:v>
                </c:pt>
                <c:pt idx="193">
                  <c:v>32</c:v>
                </c:pt>
                <c:pt idx="194">
                  <c:v>30</c:v>
                </c:pt>
                <c:pt idx="195">
                  <c:v>29</c:v>
                </c:pt>
                <c:pt idx="196">
                  <c:v>27</c:v>
                </c:pt>
                <c:pt idx="197">
                  <c:v>25</c:v>
                </c:pt>
                <c:pt idx="198">
                  <c:v>24</c:v>
                </c:pt>
                <c:pt idx="199">
                  <c:v>22</c:v>
                </c:pt>
                <c:pt idx="200">
                  <c:v>21</c:v>
                </c:pt>
                <c:pt idx="201">
                  <c:v>19</c:v>
                </c:pt>
                <c:pt idx="202">
                  <c:v>18</c:v>
                </c:pt>
                <c:pt idx="203">
                  <c:v>17</c:v>
                </c:pt>
                <c:pt idx="204">
                  <c:v>16</c:v>
                </c:pt>
                <c:pt idx="205">
                  <c:v>15</c:v>
                </c:pt>
                <c:pt idx="206">
                  <c:v>14</c:v>
                </c:pt>
                <c:pt idx="207">
                  <c:v>13</c:v>
                </c:pt>
                <c:pt idx="208">
                  <c:v>12</c:v>
                </c:pt>
                <c:pt idx="209">
                  <c:v>11</c:v>
                </c:pt>
                <c:pt idx="210">
                  <c:v>10</c:v>
                </c:pt>
                <c:pt idx="211">
                  <c:v>10</c:v>
                </c:pt>
                <c:pt idx="212">
                  <c:v>9</c:v>
                </c:pt>
                <c:pt idx="213">
                  <c:v>8</c:v>
                </c:pt>
                <c:pt idx="214">
                  <c:v>8</c:v>
                </c:pt>
                <c:pt idx="215">
                  <c:v>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956-4BCC-8CF9-51A54760781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625</c:v>
                </c:pt>
                <c:pt idx="122">
                  <c:v>607</c:v>
                </c:pt>
                <c:pt idx="123">
                  <c:v>590</c:v>
                </c:pt>
                <c:pt idx="124">
                  <c:v>574</c:v>
                </c:pt>
                <c:pt idx="125">
                  <c:v>558</c:v>
                </c:pt>
                <c:pt idx="126">
                  <c:v>542</c:v>
                </c:pt>
                <c:pt idx="127">
                  <c:v>527</c:v>
                </c:pt>
                <c:pt idx="128">
                  <c:v>512</c:v>
                </c:pt>
                <c:pt idx="129">
                  <c:v>497</c:v>
                </c:pt>
                <c:pt idx="130">
                  <c:v>483</c:v>
                </c:pt>
                <c:pt idx="131">
                  <c:v>469</c:v>
                </c:pt>
                <c:pt idx="132">
                  <c:v>455</c:v>
                </c:pt>
                <c:pt idx="133">
                  <c:v>442</c:v>
                </c:pt>
                <c:pt idx="134">
                  <c:v>429</c:v>
                </c:pt>
                <c:pt idx="135">
                  <c:v>416</c:v>
                </c:pt>
                <c:pt idx="136">
                  <c:v>404</c:v>
                </c:pt>
                <c:pt idx="137">
                  <c:v>392</c:v>
                </c:pt>
                <c:pt idx="138">
                  <c:v>380</c:v>
                </c:pt>
                <c:pt idx="139">
                  <c:v>369</c:v>
                </c:pt>
                <c:pt idx="140">
                  <c:v>358</c:v>
                </c:pt>
                <c:pt idx="141">
                  <c:v>346</c:v>
                </c:pt>
                <c:pt idx="142">
                  <c:v>336</c:v>
                </c:pt>
                <c:pt idx="143">
                  <c:v>325</c:v>
                </c:pt>
                <c:pt idx="144">
                  <c:v>315</c:v>
                </c:pt>
                <c:pt idx="145">
                  <c:v>304</c:v>
                </c:pt>
                <c:pt idx="146">
                  <c:v>295</c:v>
                </c:pt>
                <c:pt idx="147">
                  <c:v>285</c:v>
                </c:pt>
                <c:pt idx="148">
                  <c:v>276</c:v>
                </c:pt>
                <c:pt idx="149">
                  <c:v>266</c:v>
                </c:pt>
                <c:pt idx="150">
                  <c:v>257</c:v>
                </c:pt>
                <c:pt idx="151">
                  <c:v>248</c:v>
                </c:pt>
                <c:pt idx="152">
                  <c:v>240</c:v>
                </c:pt>
                <c:pt idx="153">
                  <c:v>231</c:v>
                </c:pt>
                <c:pt idx="154">
                  <c:v>223</c:v>
                </c:pt>
                <c:pt idx="155">
                  <c:v>215</c:v>
                </c:pt>
                <c:pt idx="156">
                  <c:v>207</c:v>
                </c:pt>
                <c:pt idx="157">
                  <c:v>200</c:v>
                </c:pt>
                <c:pt idx="158">
                  <c:v>192</c:v>
                </c:pt>
                <c:pt idx="159">
                  <c:v>185</c:v>
                </c:pt>
                <c:pt idx="160">
                  <c:v>178</c:v>
                </c:pt>
                <c:pt idx="161">
                  <c:v>171</c:v>
                </c:pt>
                <c:pt idx="162">
                  <c:v>165</c:v>
                </c:pt>
                <c:pt idx="163">
                  <c:v>158</c:v>
                </c:pt>
                <c:pt idx="164">
                  <c:v>152</c:v>
                </c:pt>
                <c:pt idx="165">
                  <c:v>146</c:v>
                </c:pt>
                <c:pt idx="166">
                  <c:v>140</c:v>
                </c:pt>
                <c:pt idx="167">
                  <c:v>134</c:v>
                </c:pt>
                <c:pt idx="168">
                  <c:v>131</c:v>
                </c:pt>
                <c:pt idx="169">
                  <c:v>130</c:v>
                </c:pt>
                <c:pt idx="170">
                  <c:v>129</c:v>
                </c:pt>
                <c:pt idx="171">
                  <c:v>129</c:v>
                </c:pt>
                <c:pt idx="172">
                  <c:v>129</c:v>
                </c:pt>
                <c:pt idx="173">
                  <c:v>128</c:v>
                </c:pt>
                <c:pt idx="174">
                  <c:v>128</c:v>
                </c:pt>
                <c:pt idx="175">
                  <c:v>130</c:v>
                </c:pt>
                <c:pt idx="176">
                  <c:v>132</c:v>
                </c:pt>
                <c:pt idx="177">
                  <c:v>136</c:v>
                </c:pt>
                <c:pt idx="178">
                  <c:v>139</c:v>
                </c:pt>
                <c:pt idx="179">
                  <c:v>142</c:v>
                </c:pt>
                <c:pt idx="180">
                  <c:v>146</c:v>
                </c:pt>
                <c:pt idx="181">
                  <c:v>149</c:v>
                </c:pt>
                <c:pt idx="182">
                  <c:v>153</c:v>
                </c:pt>
                <c:pt idx="183">
                  <c:v>157</c:v>
                </c:pt>
                <c:pt idx="184">
                  <c:v>160</c:v>
                </c:pt>
                <c:pt idx="185">
                  <c:v>164</c:v>
                </c:pt>
                <c:pt idx="186">
                  <c:v>168</c:v>
                </c:pt>
                <c:pt idx="187">
                  <c:v>171</c:v>
                </c:pt>
                <c:pt idx="188">
                  <c:v>175</c:v>
                </c:pt>
                <c:pt idx="189">
                  <c:v>180</c:v>
                </c:pt>
                <c:pt idx="190">
                  <c:v>184</c:v>
                </c:pt>
                <c:pt idx="191">
                  <c:v>188</c:v>
                </c:pt>
                <c:pt idx="192">
                  <c:v>192</c:v>
                </c:pt>
                <c:pt idx="193">
                  <c:v>196</c:v>
                </c:pt>
                <c:pt idx="194">
                  <c:v>200</c:v>
                </c:pt>
                <c:pt idx="195">
                  <c:v>204</c:v>
                </c:pt>
                <c:pt idx="196">
                  <c:v>207</c:v>
                </c:pt>
                <c:pt idx="197">
                  <c:v>211</c:v>
                </c:pt>
                <c:pt idx="198">
                  <c:v>214</c:v>
                </c:pt>
                <c:pt idx="199">
                  <c:v>217</c:v>
                </c:pt>
                <c:pt idx="200">
                  <c:v>220</c:v>
                </c:pt>
                <c:pt idx="201">
                  <c:v>222</c:v>
                </c:pt>
                <c:pt idx="202">
                  <c:v>224</c:v>
                </c:pt>
                <c:pt idx="203">
                  <c:v>226</c:v>
                </c:pt>
                <c:pt idx="204">
                  <c:v>228</c:v>
                </c:pt>
                <c:pt idx="205">
                  <c:v>229</c:v>
                </c:pt>
                <c:pt idx="206">
                  <c:v>230</c:v>
                </c:pt>
                <c:pt idx="207">
                  <c:v>230</c:v>
                </c:pt>
                <c:pt idx="208">
                  <c:v>230</c:v>
                </c:pt>
                <c:pt idx="209">
                  <c:v>230</c:v>
                </c:pt>
                <c:pt idx="210">
                  <c:v>229</c:v>
                </c:pt>
                <c:pt idx="211">
                  <c:v>229</c:v>
                </c:pt>
                <c:pt idx="212">
                  <c:v>227</c:v>
                </c:pt>
                <c:pt idx="213">
                  <c:v>226</c:v>
                </c:pt>
                <c:pt idx="214">
                  <c:v>224</c:v>
                </c:pt>
                <c:pt idx="215">
                  <c:v>2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956-4BCC-8CF9-51A547607813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956-4BCC-8CF9-51A547607813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956-4BCC-8CF9-51A5476078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356</c:v>
                </c:pt>
                <c:pt idx="1">
                  <c:v>255</c:v>
                </c:pt>
                <c:pt idx="2">
                  <c:v>255</c:v>
                </c:pt>
                <c:pt idx="3">
                  <c:v>269</c:v>
                </c:pt>
                <c:pt idx="4">
                  <c:v>158</c:v>
                </c:pt>
                <c:pt idx="5">
                  <c:v>20</c:v>
                </c:pt>
                <c:pt idx="6">
                  <c:v>175</c:v>
                </c:pt>
                <c:pt idx="7">
                  <c:v>312</c:v>
                </c:pt>
                <c:pt idx="8">
                  <c:v>371</c:v>
                </c:pt>
                <c:pt idx="9">
                  <c:v>260</c:v>
                </c:pt>
                <c:pt idx="10">
                  <c:v>290</c:v>
                </c:pt>
                <c:pt idx="11">
                  <c:v>208</c:v>
                </c:pt>
                <c:pt idx="12">
                  <c:v>20</c:v>
                </c:pt>
                <c:pt idx="13">
                  <c:v>196</c:v>
                </c:pt>
                <c:pt idx="14">
                  <c:v>347</c:v>
                </c:pt>
                <c:pt idx="15">
                  <c:v>456</c:v>
                </c:pt>
                <c:pt idx="16">
                  <c:v>261</c:v>
                </c:pt>
                <c:pt idx="17">
                  <c:v>399</c:v>
                </c:pt>
                <c:pt idx="18">
                  <c:v>204</c:v>
                </c:pt>
                <c:pt idx="19">
                  <c:v>41</c:v>
                </c:pt>
                <c:pt idx="20">
                  <c:v>320</c:v>
                </c:pt>
                <c:pt idx="21">
                  <c:v>594</c:v>
                </c:pt>
                <c:pt idx="22">
                  <c:v>725</c:v>
                </c:pt>
                <c:pt idx="23">
                  <c:v>231</c:v>
                </c:pt>
                <c:pt idx="24">
                  <c:v>124</c:v>
                </c:pt>
                <c:pt idx="25">
                  <c:v>95</c:v>
                </c:pt>
                <c:pt idx="26">
                  <c:v>119</c:v>
                </c:pt>
                <c:pt idx="27">
                  <c:v>499</c:v>
                </c:pt>
                <c:pt idx="28">
                  <c:v>900</c:v>
                </c:pt>
                <c:pt idx="29">
                  <c:v>868</c:v>
                </c:pt>
                <c:pt idx="30">
                  <c:v>634</c:v>
                </c:pt>
                <c:pt idx="31">
                  <c:v>68</c:v>
                </c:pt>
                <c:pt idx="32">
                  <c:v>138</c:v>
                </c:pt>
                <c:pt idx="33">
                  <c:v>101</c:v>
                </c:pt>
                <c:pt idx="34">
                  <c:v>594</c:v>
                </c:pt>
                <c:pt idx="35">
                  <c:v>1004</c:v>
                </c:pt>
                <c:pt idx="36">
                  <c:v>799</c:v>
                </c:pt>
                <c:pt idx="37">
                  <c:v>919</c:v>
                </c:pt>
                <c:pt idx="38">
                  <c:v>814</c:v>
                </c:pt>
                <c:pt idx="39">
                  <c:v>302</c:v>
                </c:pt>
                <c:pt idx="40">
                  <c:v>45</c:v>
                </c:pt>
                <c:pt idx="41">
                  <c:v>403</c:v>
                </c:pt>
                <c:pt idx="42">
                  <c:v>658</c:v>
                </c:pt>
                <c:pt idx="43">
                  <c:v>622</c:v>
                </c:pt>
                <c:pt idx="44">
                  <c:v>476</c:v>
                </c:pt>
                <c:pt idx="45">
                  <c:v>640</c:v>
                </c:pt>
                <c:pt idx="46">
                  <c:v>206</c:v>
                </c:pt>
                <c:pt idx="47">
                  <c:v>19</c:v>
                </c:pt>
                <c:pt idx="48">
                  <c:v>347</c:v>
                </c:pt>
                <c:pt idx="49">
                  <c:v>520</c:v>
                </c:pt>
                <c:pt idx="50">
                  <c:v>414</c:v>
                </c:pt>
                <c:pt idx="51">
                  <c:v>493</c:v>
                </c:pt>
                <c:pt idx="52">
                  <c:v>467</c:v>
                </c:pt>
                <c:pt idx="53">
                  <c:v>137</c:v>
                </c:pt>
                <c:pt idx="54">
                  <c:v>46</c:v>
                </c:pt>
                <c:pt idx="55">
                  <c:v>302</c:v>
                </c:pt>
                <c:pt idx="56">
                  <c:v>533</c:v>
                </c:pt>
                <c:pt idx="57">
                  <c:v>466</c:v>
                </c:pt>
                <c:pt idx="58">
                  <c:v>422</c:v>
                </c:pt>
                <c:pt idx="59">
                  <c:v>423</c:v>
                </c:pt>
                <c:pt idx="60">
                  <c:v>124</c:v>
                </c:pt>
                <c:pt idx="61">
                  <c:v>82</c:v>
                </c:pt>
                <c:pt idx="62">
                  <c:v>369</c:v>
                </c:pt>
                <c:pt idx="63">
                  <c:v>472</c:v>
                </c:pt>
                <c:pt idx="64">
                  <c:v>458</c:v>
                </c:pt>
                <c:pt idx="65">
                  <c:v>467</c:v>
                </c:pt>
                <c:pt idx="66">
                  <c:v>450</c:v>
                </c:pt>
                <c:pt idx="67">
                  <c:v>119</c:v>
                </c:pt>
                <c:pt idx="68">
                  <c:v>69</c:v>
                </c:pt>
                <c:pt idx="69">
                  <c:v>341</c:v>
                </c:pt>
                <c:pt idx="70">
                  <c:v>453</c:v>
                </c:pt>
                <c:pt idx="71">
                  <c:v>475</c:v>
                </c:pt>
                <c:pt idx="72">
                  <c:v>607</c:v>
                </c:pt>
                <c:pt idx="73">
                  <c:v>407</c:v>
                </c:pt>
                <c:pt idx="74">
                  <c:v>156</c:v>
                </c:pt>
                <c:pt idx="75">
                  <c:v>58</c:v>
                </c:pt>
                <c:pt idx="76">
                  <c:v>391</c:v>
                </c:pt>
                <c:pt idx="77">
                  <c:v>734</c:v>
                </c:pt>
                <c:pt idx="78">
                  <c:v>547</c:v>
                </c:pt>
                <c:pt idx="79">
                  <c:v>533</c:v>
                </c:pt>
                <c:pt idx="80">
                  <c:v>641</c:v>
                </c:pt>
                <c:pt idx="81">
                  <c:v>120</c:v>
                </c:pt>
                <c:pt idx="82">
                  <c:v>188</c:v>
                </c:pt>
                <c:pt idx="83">
                  <c:v>515</c:v>
                </c:pt>
                <c:pt idx="84">
                  <c:v>703</c:v>
                </c:pt>
                <c:pt idx="85">
                  <c:v>696</c:v>
                </c:pt>
                <c:pt idx="86">
                  <c:v>938</c:v>
                </c:pt>
                <c:pt idx="87">
                  <c:v>833</c:v>
                </c:pt>
                <c:pt idx="88">
                  <c:v>414</c:v>
                </c:pt>
                <c:pt idx="89">
                  <c:v>75</c:v>
                </c:pt>
                <c:pt idx="90">
                  <c:v>585</c:v>
                </c:pt>
                <c:pt idx="91">
                  <c:v>988</c:v>
                </c:pt>
                <c:pt idx="92">
                  <c:v>1085</c:v>
                </c:pt>
                <c:pt idx="93">
                  <c:v>1021</c:v>
                </c:pt>
                <c:pt idx="94">
                  <c:v>1007</c:v>
                </c:pt>
                <c:pt idx="95">
                  <c:v>547</c:v>
                </c:pt>
                <c:pt idx="96">
                  <c:v>84</c:v>
                </c:pt>
                <c:pt idx="97">
                  <c:v>838</c:v>
                </c:pt>
                <c:pt idx="98">
                  <c:v>924</c:v>
                </c:pt>
                <c:pt idx="99">
                  <c:v>1125</c:v>
                </c:pt>
                <c:pt idx="100">
                  <c:v>797</c:v>
                </c:pt>
                <c:pt idx="101">
                  <c:v>1127</c:v>
                </c:pt>
                <c:pt idx="102">
                  <c:v>561</c:v>
                </c:pt>
                <c:pt idx="103">
                  <c:v>56</c:v>
                </c:pt>
                <c:pt idx="104">
                  <c:v>714</c:v>
                </c:pt>
                <c:pt idx="105">
                  <c:v>1132</c:v>
                </c:pt>
                <c:pt idx="106">
                  <c:v>1093</c:v>
                </c:pt>
                <c:pt idx="107">
                  <c:v>1037</c:v>
                </c:pt>
                <c:pt idx="108">
                  <c:v>759</c:v>
                </c:pt>
                <c:pt idx="109">
                  <c:v>410</c:v>
                </c:pt>
                <c:pt idx="110">
                  <c:v>73</c:v>
                </c:pt>
                <c:pt idx="111">
                  <c:v>577</c:v>
                </c:pt>
                <c:pt idx="112">
                  <c:v>983</c:v>
                </c:pt>
                <c:pt idx="113">
                  <c:v>805</c:v>
                </c:pt>
                <c:pt idx="114">
                  <c:v>745</c:v>
                </c:pt>
                <c:pt idx="115">
                  <c:v>575</c:v>
                </c:pt>
                <c:pt idx="116">
                  <c:v>226</c:v>
                </c:pt>
                <c:pt idx="117">
                  <c:v>59</c:v>
                </c:pt>
                <c:pt idx="118">
                  <c:v>432</c:v>
                </c:pt>
                <c:pt idx="119">
                  <c:v>825</c:v>
                </c:pt>
                <c:pt idx="120">
                  <c:v>575</c:v>
                </c:pt>
                <c:pt idx="121">
                  <c:v>509</c:v>
                </c:pt>
                <c:pt idx="122">
                  <c:v>302</c:v>
                </c:pt>
                <c:pt idx="123">
                  <c:v>60</c:v>
                </c:pt>
                <c:pt idx="124">
                  <c:v>110</c:v>
                </c:pt>
                <c:pt idx="125">
                  <c:v>114</c:v>
                </c:pt>
                <c:pt idx="126">
                  <c:v>461</c:v>
                </c:pt>
                <c:pt idx="127">
                  <c:v>658</c:v>
                </c:pt>
                <c:pt idx="128">
                  <c:v>474</c:v>
                </c:pt>
                <c:pt idx="129">
                  <c:v>397</c:v>
                </c:pt>
                <c:pt idx="130">
                  <c:v>138</c:v>
                </c:pt>
                <c:pt idx="131">
                  <c:v>27</c:v>
                </c:pt>
                <c:pt idx="132">
                  <c:v>201</c:v>
                </c:pt>
                <c:pt idx="133">
                  <c:v>490</c:v>
                </c:pt>
                <c:pt idx="134">
                  <c:v>283</c:v>
                </c:pt>
                <c:pt idx="135">
                  <c:v>331</c:v>
                </c:pt>
                <c:pt idx="136">
                  <c:v>238</c:v>
                </c:pt>
                <c:pt idx="137">
                  <c:v>82</c:v>
                </c:pt>
                <c:pt idx="138">
                  <c:v>29</c:v>
                </c:pt>
                <c:pt idx="139">
                  <c:v>269</c:v>
                </c:pt>
                <c:pt idx="140">
                  <c:v>325</c:v>
                </c:pt>
                <c:pt idx="141">
                  <c:v>296</c:v>
                </c:pt>
                <c:pt idx="142">
                  <c:v>283</c:v>
                </c:pt>
                <c:pt idx="143">
                  <c:v>248</c:v>
                </c:pt>
                <c:pt idx="144">
                  <c:v>61</c:v>
                </c:pt>
                <c:pt idx="145">
                  <c:v>15</c:v>
                </c:pt>
                <c:pt idx="146">
                  <c:v>176</c:v>
                </c:pt>
                <c:pt idx="147">
                  <c:v>349</c:v>
                </c:pt>
                <c:pt idx="148">
                  <c:v>238</c:v>
                </c:pt>
                <c:pt idx="149">
                  <c:v>231</c:v>
                </c:pt>
                <c:pt idx="150">
                  <c:v>156</c:v>
                </c:pt>
                <c:pt idx="151">
                  <c:v>96</c:v>
                </c:pt>
                <c:pt idx="152">
                  <c:v>50</c:v>
                </c:pt>
                <c:pt idx="153">
                  <c:v>155</c:v>
                </c:pt>
                <c:pt idx="154">
                  <c:v>256</c:v>
                </c:pt>
                <c:pt idx="155">
                  <c:v>176</c:v>
                </c:pt>
                <c:pt idx="156">
                  <c:v>161</c:v>
                </c:pt>
                <c:pt idx="157">
                  <c:v>155</c:v>
                </c:pt>
                <c:pt idx="158">
                  <c:v>32</c:v>
                </c:pt>
                <c:pt idx="159">
                  <c:v>6</c:v>
                </c:pt>
                <c:pt idx="160">
                  <c:v>142</c:v>
                </c:pt>
                <c:pt idx="161">
                  <c:v>172</c:v>
                </c:pt>
                <c:pt idx="162">
                  <c:v>97</c:v>
                </c:pt>
                <c:pt idx="163">
                  <c:v>101</c:v>
                </c:pt>
                <c:pt idx="164">
                  <c:v>79</c:v>
                </c:pt>
                <c:pt idx="165">
                  <c:v>38</c:v>
                </c:pt>
                <c:pt idx="166">
                  <c:v>4</c:v>
                </c:pt>
                <c:pt idx="167">
                  <c:v>96</c:v>
                </c:pt>
                <c:pt idx="168">
                  <c:v>80</c:v>
                </c:pt>
                <c:pt idx="169">
                  <c:v>66</c:v>
                </c:pt>
                <c:pt idx="170">
                  <c:v>47</c:v>
                </c:pt>
                <c:pt idx="171">
                  <c:v>67</c:v>
                </c:pt>
                <c:pt idx="172">
                  <c:v>24</c:v>
                </c:pt>
                <c:pt idx="173">
                  <c:v>6</c:v>
                </c:pt>
                <c:pt idx="174">
                  <c:v>35</c:v>
                </c:pt>
                <c:pt idx="175">
                  <c:v>68</c:v>
                </c:pt>
                <c:pt idx="176">
                  <c:v>37</c:v>
                </c:pt>
                <c:pt idx="177">
                  <c:v>45</c:v>
                </c:pt>
                <c:pt idx="178">
                  <c:v>61</c:v>
                </c:pt>
                <c:pt idx="179">
                  <c:v>9</c:v>
                </c:pt>
                <c:pt idx="180">
                  <c:v>6</c:v>
                </c:pt>
                <c:pt idx="181">
                  <c:v>36</c:v>
                </c:pt>
                <c:pt idx="182">
                  <c:v>33</c:v>
                </c:pt>
                <c:pt idx="183">
                  <c:v>34</c:v>
                </c:pt>
                <c:pt idx="184">
                  <c:v>80</c:v>
                </c:pt>
                <c:pt idx="185">
                  <c:v>32</c:v>
                </c:pt>
                <c:pt idx="186">
                  <c:v>17</c:v>
                </c:pt>
                <c:pt idx="187">
                  <c:v>2</c:v>
                </c:pt>
                <c:pt idx="188">
                  <c:v>21</c:v>
                </c:pt>
                <c:pt idx="189">
                  <c:v>59</c:v>
                </c:pt>
                <c:pt idx="190">
                  <c:v>30</c:v>
                </c:pt>
                <c:pt idx="191">
                  <c:v>21</c:v>
                </c:pt>
                <c:pt idx="192">
                  <c:v>31</c:v>
                </c:pt>
                <c:pt idx="193">
                  <c:v>6</c:v>
                </c:pt>
                <c:pt idx="19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31F-43FD-AAA0-384EC62930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31F-43FD-AAA0-384EC62930E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571</c:v>
                </c:pt>
                <c:pt idx="122">
                  <c:v>555</c:v>
                </c:pt>
                <c:pt idx="123">
                  <c:v>540</c:v>
                </c:pt>
                <c:pt idx="124">
                  <c:v>525</c:v>
                </c:pt>
                <c:pt idx="125">
                  <c:v>510</c:v>
                </c:pt>
                <c:pt idx="126">
                  <c:v>496</c:v>
                </c:pt>
                <c:pt idx="127">
                  <c:v>482</c:v>
                </c:pt>
                <c:pt idx="128">
                  <c:v>468</c:v>
                </c:pt>
                <c:pt idx="129">
                  <c:v>454</c:v>
                </c:pt>
                <c:pt idx="130">
                  <c:v>441</c:v>
                </c:pt>
                <c:pt idx="131">
                  <c:v>428</c:v>
                </c:pt>
                <c:pt idx="132">
                  <c:v>416</c:v>
                </c:pt>
                <c:pt idx="133">
                  <c:v>404</c:v>
                </c:pt>
                <c:pt idx="134">
                  <c:v>392</c:v>
                </c:pt>
                <c:pt idx="135">
                  <c:v>381</c:v>
                </c:pt>
                <c:pt idx="136">
                  <c:v>370</c:v>
                </c:pt>
                <c:pt idx="137">
                  <c:v>358</c:v>
                </c:pt>
                <c:pt idx="138">
                  <c:v>348</c:v>
                </c:pt>
                <c:pt idx="139">
                  <c:v>337</c:v>
                </c:pt>
                <c:pt idx="140">
                  <c:v>327</c:v>
                </c:pt>
                <c:pt idx="141">
                  <c:v>317</c:v>
                </c:pt>
                <c:pt idx="142">
                  <c:v>307</c:v>
                </c:pt>
                <c:pt idx="143">
                  <c:v>297</c:v>
                </c:pt>
                <c:pt idx="144">
                  <c:v>288</c:v>
                </c:pt>
                <c:pt idx="145">
                  <c:v>278</c:v>
                </c:pt>
                <c:pt idx="146">
                  <c:v>269</c:v>
                </c:pt>
                <c:pt idx="147">
                  <c:v>261</c:v>
                </c:pt>
                <c:pt idx="148">
                  <c:v>252</c:v>
                </c:pt>
                <c:pt idx="149">
                  <c:v>243</c:v>
                </c:pt>
                <c:pt idx="150">
                  <c:v>235</c:v>
                </c:pt>
                <c:pt idx="151">
                  <c:v>227</c:v>
                </c:pt>
                <c:pt idx="152">
                  <c:v>219</c:v>
                </c:pt>
                <c:pt idx="153">
                  <c:v>211</c:v>
                </c:pt>
                <c:pt idx="154">
                  <c:v>204</c:v>
                </c:pt>
                <c:pt idx="155">
                  <c:v>197</c:v>
                </c:pt>
                <c:pt idx="156">
                  <c:v>190</c:v>
                </c:pt>
                <c:pt idx="157">
                  <c:v>183</c:v>
                </c:pt>
                <c:pt idx="158">
                  <c:v>176</c:v>
                </c:pt>
                <c:pt idx="159">
                  <c:v>169</c:v>
                </c:pt>
                <c:pt idx="160">
                  <c:v>163</c:v>
                </c:pt>
                <c:pt idx="161">
                  <c:v>157</c:v>
                </c:pt>
                <c:pt idx="162">
                  <c:v>150</c:v>
                </c:pt>
                <c:pt idx="163">
                  <c:v>145</c:v>
                </c:pt>
                <c:pt idx="164">
                  <c:v>139</c:v>
                </c:pt>
                <c:pt idx="165">
                  <c:v>133</c:v>
                </c:pt>
                <c:pt idx="166">
                  <c:v>128</c:v>
                </c:pt>
                <c:pt idx="167">
                  <c:v>122</c:v>
                </c:pt>
                <c:pt idx="168">
                  <c:v>117</c:v>
                </c:pt>
                <c:pt idx="169">
                  <c:v>112</c:v>
                </c:pt>
                <c:pt idx="170">
                  <c:v>107</c:v>
                </c:pt>
                <c:pt idx="171">
                  <c:v>102</c:v>
                </c:pt>
                <c:pt idx="172">
                  <c:v>98</c:v>
                </c:pt>
                <c:pt idx="173">
                  <c:v>93</c:v>
                </c:pt>
                <c:pt idx="174">
                  <c:v>89</c:v>
                </c:pt>
                <c:pt idx="175">
                  <c:v>84</c:v>
                </c:pt>
                <c:pt idx="176">
                  <c:v>80</c:v>
                </c:pt>
                <c:pt idx="177">
                  <c:v>76</c:v>
                </c:pt>
                <c:pt idx="178">
                  <c:v>72</c:v>
                </c:pt>
                <c:pt idx="179">
                  <c:v>68</c:v>
                </c:pt>
                <c:pt idx="180">
                  <c:v>64</c:v>
                </c:pt>
                <c:pt idx="181">
                  <c:v>60</c:v>
                </c:pt>
                <c:pt idx="182">
                  <c:v>57</c:v>
                </c:pt>
                <c:pt idx="183">
                  <c:v>54</c:v>
                </c:pt>
                <c:pt idx="184">
                  <c:v>51</c:v>
                </c:pt>
                <c:pt idx="185">
                  <c:v>48</c:v>
                </c:pt>
                <c:pt idx="186">
                  <c:v>45</c:v>
                </c:pt>
                <c:pt idx="187">
                  <c:v>42</c:v>
                </c:pt>
                <c:pt idx="188">
                  <c:v>40</c:v>
                </c:pt>
                <c:pt idx="189">
                  <c:v>38</c:v>
                </c:pt>
                <c:pt idx="190">
                  <c:v>35</c:v>
                </c:pt>
                <c:pt idx="191">
                  <c:v>33</c:v>
                </c:pt>
                <c:pt idx="192">
                  <c:v>31</c:v>
                </c:pt>
                <c:pt idx="193">
                  <c:v>30</c:v>
                </c:pt>
                <c:pt idx="194">
                  <c:v>28</c:v>
                </c:pt>
                <c:pt idx="195">
                  <c:v>26</c:v>
                </c:pt>
                <c:pt idx="196">
                  <c:v>25</c:v>
                </c:pt>
                <c:pt idx="197">
                  <c:v>23</c:v>
                </c:pt>
                <c:pt idx="198">
                  <c:v>22</c:v>
                </c:pt>
                <c:pt idx="199">
                  <c:v>20</c:v>
                </c:pt>
                <c:pt idx="200">
                  <c:v>19</c:v>
                </c:pt>
                <c:pt idx="201">
                  <c:v>18</c:v>
                </c:pt>
                <c:pt idx="202">
                  <c:v>17</c:v>
                </c:pt>
                <c:pt idx="203">
                  <c:v>16</c:v>
                </c:pt>
                <c:pt idx="204">
                  <c:v>15</c:v>
                </c:pt>
                <c:pt idx="205">
                  <c:v>14</c:v>
                </c:pt>
                <c:pt idx="206">
                  <c:v>13</c:v>
                </c:pt>
                <c:pt idx="207">
                  <c:v>12</c:v>
                </c:pt>
                <c:pt idx="208">
                  <c:v>11</c:v>
                </c:pt>
                <c:pt idx="209">
                  <c:v>10</c:v>
                </c:pt>
                <c:pt idx="210">
                  <c:v>9</c:v>
                </c:pt>
                <c:pt idx="211">
                  <c:v>9</c:v>
                </c:pt>
                <c:pt idx="212">
                  <c:v>8</c:v>
                </c:pt>
                <c:pt idx="213">
                  <c:v>7</c:v>
                </c:pt>
                <c:pt idx="214">
                  <c:v>7</c:v>
                </c:pt>
                <c:pt idx="215">
                  <c:v>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31F-43FD-AAA0-384EC62930E0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571</c:v>
                </c:pt>
                <c:pt idx="122">
                  <c:v>555</c:v>
                </c:pt>
                <c:pt idx="123">
                  <c:v>540</c:v>
                </c:pt>
                <c:pt idx="124">
                  <c:v>525</c:v>
                </c:pt>
                <c:pt idx="125">
                  <c:v>510</c:v>
                </c:pt>
                <c:pt idx="126">
                  <c:v>496</c:v>
                </c:pt>
                <c:pt idx="127">
                  <c:v>482</c:v>
                </c:pt>
                <c:pt idx="128">
                  <c:v>468</c:v>
                </c:pt>
                <c:pt idx="129">
                  <c:v>454</c:v>
                </c:pt>
                <c:pt idx="130">
                  <c:v>441</c:v>
                </c:pt>
                <c:pt idx="131">
                  <c:v>428</c:v>
                </c:pt>
                <c:pt idx="132">
                  <c:v>416</c:v>
                </c:pt>
                <c:pt idx="133">
                  <c:v>404</c:v>
                </c:pt>
                <c:pt idx="134">
                  <c:v>392</c:v>
                </c:pt>
                <c:pt idx="135">
                  <c:v>381</c:v>
                </c:pt>
                <c:pt idx="136">
                  <c:v>370</c:v>
                </c:pt>
                <c:pt idx="137">
                  <c:v>358</c:v>
                </c:pt>
                <c:pt idx="138">
                  <c:v>348</c:v>
                </c:pt>
                <c:pt idx="139">
                  <c:v>337</c:v>
                </c:pt>
                <c:pt idx="140">
                  <c:v>327</c:v>
                </c:pt>
                <c:pt idx="141">
                  <c:v>317</c:v>
                </c:pt>
                <c:pt idx="142">
                  <c:v>307</c:v>
                </c:pt>
                <c:pt idx="143">
                  <c:v>297</c:v>
                </c:pt>
                <c:pt idx="144">
                  <c:v>288</c:v>
                </c:pt>
                <c:pt idx="145">
                  <c:v>278</c:v>
                </c:pt>
                <c:pt idx="146">
                  <c:v>269</c:v>
                </c:pt>
                <c:pt idx="147">
                  <c:v>261</c:v>
                </c:pt>
                <c:pt idx="148">
                  <c:v>252</c:v>
                </c:pt>
                <c:pt idx="149">
                  <c:v>243</c:v>
                </c:pt>
                <c:pt idx="150">
                  <c:v>235</c:v>
                </c:pt>
                <c:pt idx="151">
                  <c:v>227</c:v>
                </c:pt>
                <c:pt idx="152">
                  <c:v>219</c:v>
                </c:pt>
                <c:pt idx="153">
                  <c:v>211</c:v>
                </c:pt>
                <c:pt idx="154">
                  <c:v>204</c:v>
                </c:pt>
                <c:pt idx="155">
                  <c:v>197</c:v>
                </c:pt>
                <c:pt idx="156">
                  <c:v>190</c:v>
                </c:pt>
                <c:pt idx="157">
                  <c:v>183</c:v>
                </c:pt>
                <c:pt idx="158">
                  <c:v>176</c:v>
                </c:pt>
                <c:pt idx="159">
                  <c:v>169</c:v>
                </c:pt>
                <c:pt idx="160">
                  <c:v>163</c:v>
                </c:pt>
                <c:pt idx="161">
                  <c:v>157</c:v>
                </c:pt>
                <c:pt idx="162">
                  <c:v>150</c:v>
                </c:pt>
                <c:pt idx="163">
                  <c:v>145</c:v>
                </c:pt>
                <c:pt idx="164">
                  <c:v>139</c:v>
                </c:pt>
                <c:pt idx="165">
                  <c:v>133</c:v>
                </c:pt>
                <c:pt idx="166">
                  <c:v>128</c:v>
                </c:pt>
                <c:pt idx="167">
                  <c:v>122</c:v>
                </c:pt>
                <c:pt idx="168">
                  <c:v>120</c:v>
                </c:pt>
                <c:pt idx="169">
                  <c:v>119</c:v>
                </c:pt>
                <c:pt idx="170">
                  <c:v>118</c:v>
                </c:pt>
                <c:pt idx="171">
                  <c:v>118</c:v>
                </c:pt>
                <c:pt idx="172">
                  <c:v>118</c:v>
                </c:pt>
                <c:pt idx="173">
                  <c:v>117</c:v>
                </c:pt>
                <c:pt idx="174">
                  <c:v>117</c:v>
                </c:pt>
                <c:pt idx="175">
                  <c:v>118</c:v>
                </c:pt>
                <c:pt idx="176">
                  <c:v>121</c:v>
                </c:pt>
                <c:pt idx="177">
                  <c:v>124</c:v>
                </c:pt>
                <c:pt idx="178">
                  <c:v>127</c:v>
                </c:pt>
                <c:pt idx="179">
                  <c:v>130</c:v>
                </c:pt>
                <c:pt idx="180">
                  <c:v>133</c:v>
                </c:pt>
                <c:pt idx="181">
                  <c:v>137</c:v>
                </c:pt>
                <c:pt idx="182">
                  <c:v>140</c:v>
                </c:pt>
                <c:pt idx="183">
                  <c:v>143</c:v>
                </c:pt>
                <c:pt idx="184">
                  <c:v>147</c:v>
                </c:pt>
                <c:pt idx="185">
                  <c:v>150</c:v>
                </c:pt>
                <c:pt idx="186">
                  <c:v>153</c:v>
                </c:pt>
                <c:pt idx="187">
                  <c:v>157</c:v>
                </c:pt>
                <c:pt idx="188">
                  <c:v>160</c:v>
                </c:pt>
                <c:pt idx="189">
                  <c:v>164</c:v>
                </c:pt>
                <c:pt idx="190">
                  <c:v>168</c:v>
                </c:pt>
                <c:pt idx="191">
                  <c:v>172</c:v>
                </c:pt>
                <c:pt idx="192">
                  <c:v>176</c:v>
                </c:pt>
                <c:pt idx="193">
                  <c:v>179</c:v>
                </c:pt>
                <c:pt idx="194">
                  <c:v>183</c:v>
                </c:pt>
                <c:pt idx="195">
                  <c:v>186</c:v>
                </c:pt>
                <c:pt idx="196">
                  <c:v>190</c:v>
                </c:pt>
                <c:pt idx="197">
                  <c:v>193</c:v>
                </c:pt>
                <c:pt idx="198">
                  <c:v>196</c:v>
                </c:pt>
                <c:pt idx="199">
                  <c:v>198</c:v>
                </c:pt>
                <c:pt idx="200">
                  <c:v>201</c:v>
                </c:pt>
                <c:pt idx="201">
                  <c:v>203</c:v>
                </c:pt>
                <c:pt idx="202">
                  <c:v>205</c:v>
                </c:pt>
                <c:pt idx="203">
                  <c:v>207</c:v>
                </c:pt>
                <c:pt idx="204">
                  <c:v>208</c:v>
                </c:pt>
                <c:pt idx="205">
                  <c:v>209</c:v>
                </c:pt>
                <c:pt idx="206">
                  <c:v>210</c:v>
                </c:pt>
                <c:pt idx="207">
                  <c:v>210</c:v>
                </c:pt>
                <c:pt idx="208">
                  <c:v>211</c:v>
                </c:pt>
                <c:pt idx="209">
                  <c:v>210</c:v>
                </c:pt>
                <c:pt idx="210">
                  <c:v>210</c:v>
                </c:pt>
                <c:pt idx="211">
                  <c:v>209</c:v>
                </c:pt>
                <c:pt idx="212">
                  <c:v>208</c:v>
                </c:pt>
                <c:pt idx="213">
                  <c:v>206</c:v>
                </c:pt>
                <c:pt idx="214">
                  <c:v>205</c:v>
                </c:pt>
                <c:pt idx="215">
                  <c:v>2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31F-43FD-AAA0-384EC62930E0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31F-43FD-AAA0-384EC62930E0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31F-43FD-AAA0-384EC62930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8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240</c:v>
                </c:pt>
                <c:pt idx="1">
                  <c:v>265</c:v>
                </c:pt>
                <c:pt idx="2">
                  <c:v>239</c:v>
                </c:pt>
                <c:pt idx="3">
                  <c:v>244</c:v>
                </c:pt>
                <c:pt idx="4">
                  <c:v>114</c:v>
                </c:pt>
                <c:pt idx="5">
                  <c:v>60</c:v>
                </c:pt>
                <c:pt idx="6">
                  <c:v>258</c:v>
                </c:pt>
                <c:pt idx="7">
                  <c:v>209</c:v>
                </c:pt>
                <c:pt idx="8">
                  <c:v>260</c:v>
                </c:pt>
                <c:pt idx="9">
                  <c:v>268</c:v>
                </c:pt>
                <c:pt idx="10">
                  <c:v>279</c:v>
                </c:pt>
                <c:pt idx="11">
                  <c:v>206</c:v>
                </c:pt>
                <c:pt idx="12">
                  <c:v>49</c:v>
                </c:pt>
                <c:pt idx="13">
                  <c:v>335</c:v>
                </c:pt>
                <c:pt idx="14">
                  <c:v>378</c:v>
                </c:pt>
                <c:pt idx="15">
                  <c:v>374</c:v>
                </c:pt>
                <c:pt idx="16">
                  <c:v>455</c:v>
                </c:pt>
                <c:pt idx="17">
                  <c:v>456</c:v>
                </c:pt>
                <c:pt idx="18">
                  <c:v>267</c:v>
                </c:pt>
                <c:pt idx="19">
                  <c:v>77</c:v>
                </c:pt>
                <c:pt idx="20">
                  <c:v>503</c:v>
                </c:pt>
                <c:pt idx="21">
                  <c:v>523</c:v>
                </c:pt>
                <c:pt idx="22">
                  <c:v>682</c:v>
                </c:pt>
                <c:pt idx="23">
                  <c:v>119</c:v>
                </c:pt>
                <c:pt idx="24">
                  <c:v>246</c:v>
                </c:pt>
                <c:pt idx="25">
                  <c:v>179</c:v>
                </c:pt>
                <c:pt idx="26">
                  <c:v>161</c:v>
                </c:pt>
                <c:pt idx="27">
                  <c:v>560</c:v>
                </c:pt>
                <c:pt idx="28">
                  <c:v>637</c:v>
                </c:pt>
                <c:pt idx="29">
                  <c:v>684</c:v>
                </c:pt>
                <c:pt idx="30">
                  <c:v>611</c:v>
                </c:pt>
                <c:pt idx="31">
                  <c:v>118</c:v>
                </c:pt>
                <c:pt idx="32">
                  <c:v>275</c:v>
                </c:pt>
                <c:pt idx="33">
                  <c:v>156</c:v>
                </c:pt>
                <c:pt idx="34">
                  <c:v>555</c:v>
                </c:pt>
                <c:pt idx="35">
                  <c:v>663</c:v>
                </c:pt>
                <c:pt idx="36">
                  <c:v>798</c:v>
                </c:pt>
                <c:pt idx="37">
                  <c:v>616</c:v>
                </c:pt>
                <c:pt idx="38">
                  <c:v>646</c:v>
                </c:pt>
                <c:pt idx="39">
                  <c:v>257</c:v>
                </c:pt>
                <c:pt idx="40">
                  <c:v>131</c:v>
                </c:pt>
                <c:pt idx="41">
                  <c:v>544</c:v>
                </c:pt>
                <c:pt idx="42">
                  <c:v>556</c:v>
                </c:pt>
                <c:pt idx="43">
                  <c:v>512</c:v>
                </c:pt>
                <c:pt idx="44">
                  <c:v>320</c:v>
                </c:pt>
                <c:pt idx="45">
                  <c:v>550</c:v>
                </c:pt>
                <c:pt idx="46">
                  <c:v>148</c:v>
                </c:pt>
                <c:pt idx="47">
                  <c:v>113</c:v>
                </c:pt>
                <c:pt idx="48">
                  <c:v>448</c:v>
                </c:pt>
                <c:pt idx="49">
                  <c:v>573</c:v>
                </c:pt>
                <c:pt idx="50">
                  <c:v>486</c:v>
                </c:pt>
                <c:pt idx="51">
                  <c:v>459</c:v>
                </c:pt>
                <c:pt idx="52">
                  <c:v>573</c:v>
                </c:pt>
                <c:pt idx="53">
                  <c:v>166</c:v>
                </c:pt>
                <c:pt idx="54">
                  <c:v>71</c:v>
                </c:pt>
                <c:pt idx="55">
                  <c:v>405</c:v>
                </c:pt>
                <c:pt idx="56">
                  <c:v>470</c:v>
                </c:pt>
                <c:pt idx="57">
                  <c:v>640</c:v>
                </c:pt>
                <c:pt idx="58">
                  <c:v>518</c:v>
                </c:pt>
                <c:pt idx="59">
                  <c:v>658</c:v>
                </c:pt>
                <c:pt idx="60">
                  <c:v>126</c:v>
                </c:pt>
                <c:pt idx="61">
                  <c:v>127</c:v>
                </c:pt>
                <c:pt idx="62">
                  <c:v>512</c:v>
                </c:pt>
                <c:pt idx="63">
                  <c:v>651</c:v>
                </c:pt>
                <c:pt idx="64">
                  <c:v>770</c:v>
                </c:pt>
                <c:pt idx="65">
                  <c:v>772</c:v>
                </c:pt>
                <c:pt idx="66">
                  <c:v>750</c:v>
                </c:pt>
                <c:pt idx="67">
                  <c:v>210</c:v>
                </c:pt>
                <c:pt idx="68">
                  <c:v>94</c:v>
                </c:pt>
                <c:pt idx="69">
                  <c:v>620</c:v>
                </c:pt>
                <c:pt idx="70">
                  <c:v>854</c:v>
                </c:pt>
                <c:pt idx="71">
                  <c:v>689</c:v>
                </c:pt>
                <c:pt idx="72">
                  <c:v>801</c:v>
                </c:pt>
                <c:pt idx="73">
                  <c:v>847</c:v>
                </c:pt>
                <c:pt idx="74">
                  <c:v>312</c:v>
                </c:pt>
                <c:pt idx="75">
                  <c:v>154</c:v>
                </c:pt>
                <c:pt idx="76">
                  <c:v>791</c:v>
                </c:pt>
                <c:pt idx="77">
                  <c:v>1122</c:v>
                </c:pt>
                <c:pt idx="78">
                  <c:v>1040</c:v>
                </c:pt>
                <c:pt idx="79">
                  <c:v>1102</c:v>
                </c:pt>
                <c:pt idx="80">
                  <c:v>1187</c:v>
                </c:pt>
                <c:pt idx="81">
                  <c:v>475</c:v>
                </c:pt>
                <c:pt idx="82">
                  <c:v>261</c:v>
                </c:pt>
                <c:pt idx="83">
                  <c:v>980</c:v>
                </c:pt>
                <c:pt idx="84">
                  <c:v>1545</c:v>
                </c:pt>
                <c:pt idx="85">
                  <c:v>1446</c:v>
                </c:pt>
                <c:pt idx="86">
                  <c:v>1286</c:v>
                </c:pt>
                <c:pt idx="87">
                  <c:v>1520</c:v>
                </c:pt>
                <c:pt idx="88">
                  <c:v>496</c:v>
                </c:pt>
                <c:pt idx="89">
                  <c:v>208</c:v>
                </c:pt>
                <c:pt idx="90">
                  <c:v>1008</c:v>
                </c:pt>
                <c:pt idx="91">
                  <c:v>1594</c:v>
                </c:pt>
                <c:pt idx="92">
                  <c:v>1271</c:v>
                </c:pt>
                <c:pt idx="93">
                  <c:v>1171</c:v>
                </c:pt>
                <c:pt idx="94">
                  <c:v>1248</c:v>
                </c:pt>
                <c:pt idx="95">
                  <c:v>445</c:v>
                </c:pt>
                <c:pt idx="96">
                  <c:v>174</c:v>
                </c:pt>
                <c:pt idx="97">
                  <c:v>797</c:v>
                </c:pt>
                <c:pt idx="98">
                  <c:v>1363</c:v>
                </c:pt>
                <c:pt idx="99">
                  <c:v>1231</c:v>
                </c:pt>
                <c:pt idx="100">
                  <c:v>824</c:v>
                </c:pt>
                <c:pt idx="101">
                  <c:v>1066</c:v>
                </c:pt>
                <c:pt idx="102">
                  <c:v>245</c:v>
                </c:pt>
                <c:pt idx="103">
                  <c:v>316</c:v>
                </c:pt>
                <c:pt idx="104">
                  <c:v>672</c:v>
                </c:pt>
                <c:pt idx="105">
                  <c:v>1071</c:v>
                </c:pt>
                <c:pt idx="106">
                  <c:v>800</c:v>
                </c:pt>
                <c:pt idx="107">
                  <c:v>679</c:v>
                </c:pt>
                <c:pt idx="108">
                  <c:v>637</c:v>
                </c:pt>
                <c:pt idx="109">
                  <c:v>198</c:v>
                </c:pt>
                <c:pt idx="110">
                  <c:v>154</c:v>
                </c:pt>
                <c:pt idx="111">
                  <c:v>480</c:v>
                </c:pt>
                <c:pt idx="112">
                  <c:v>545</c:v>
                </c:pt>
                <c:pt idx="113">
                  <c:v>565</c:v>
                </c:pt>
                <c:pt idx="114">
                  <c:v>375</c:v>
                </c:pt>
                <c:pt idx="115">
                  <c:v>477</c:v>
                </c:pt>
                <c:pt idx="116">
                  <c:v>120</c:v>
                </c:pt>
                <c:pt idx="117">
                  <c:v>84</c:v>
                </c:pt>
                <c:pt idx="118">
                  <c:v>347</c:v>
                </c:pt>
                <c:pt idx="119">
                  <c:v>389</c:v>
                </c:pt>
                <c:pt idx="120">
                  <c:v>358</c:v>
                </c:pt>
                <c:pt idx="121">
                  <c:v>320</c:v>
                </c:pt>
                <c:pt idx="122">
                  <c:v>161</c:v>
                </c:pt>
                <c:pt idx="123">
                  <c:v>47</c:v>
                </c:pt>
                <c:pt idx="124">
                  <c:v>74</c:v>
                </c:pt>
                <c:pt idx="125">
                  <c:v>32</c:v>
                </c:pt>
                <c:pt idx="126">
                  <c:v>260</c:v>
                </c:pt>
                <c:pt idx="127">
                  <c:v>276</c:v>
                </c:pt>
                <c:pt idx="128">
                  <c:v>206</c:v>
                </c:pt>
                <c:pt idx="129">
                  <c:v>193</c:v>
                </c:pt>
                <c:pt idx="130">
                  <c:v>58</c:v>
                </c:pt>
                <c:pt idx="131">
                  <c:v>34</c:v>
                </c:pt>
                <c:pt idx="132">
                  <c:v>185</c:v>
                </c:pt>
                <c:pt idx="133">
                  <c:v>156</c:v>
                </c:pt>
                <c:pt idx="134">
                  <c:v>92</c:v>
                </c:pt>
                <c:pt idx="135">
                  <c:v>100</c:v>
                </c:pt>
                <c:pt idx="136">
                  <c:v>129</c:v>
                </c:pt>
                <c:pt idx="137">
                  <c:v>40</c:v>
                </c:pt>
                <c:pt idx="138">
                  <c:v>21</c:v>
                </c:pt>
                <c:pt idx="139">
                  <c:v>133</c:v>
                </c:pt>
                <c:pt idx="140">
                  <c:v>128</c:v>
                </c:pt>
                <c:pt idx="141">
                  <c:v>106</c:v>
                </c:pt>
                <c:pt idx="142">
                  <c:v>80</c:v>
                </c:pt>
                <c:pt idx="143">
                  <c:v>93</c:v>
                </c:pt>
                <c:pt idx="144">
                  <c:v>48</c:v>
                </c:pt>
                <c:pt idx="145">
                  <c:v>20</c:v>
                </c:pt>
                <c:pt idx="146">
                  <c:v>125</c:v>
                </c:pt>
                <c:pt idx="147">
                  <c:v>108</c:v>
                </c:pt>
                <c:pt idx="148">
                  <c:v>106</c:v>
                </c:pt>
                <c:pt idx="149">
                  <c:v>65</c:v>
                </c:pt>
                <c:pt idx="150">
                  <c:v>74</c:v>
                </c:pt>
                <c:pt idx="151">
                  <c:v>34</c:v>
                </c:pt>
                <c:pt idx="152">
                  <c:v>12</c:v>
                </c:pt>
                <c:pt idx="153">
                  <c:v>54</c:v>
                </c:pt>
                <c:pt idx="154">
                  <c:v>101</c:v>
                </c:pt>
                <c:pt idx="155">
                  <c:v>65</c:v>
                </c:pt>
                <c:pt idx="156">
                  <c:v>57</c:v>
                </c:pt>
                <c:pt idx="157">
                  <c:v>66</c:v>
                </c:pt>
                <c:pt idx="158">
                  <c:v>11</c:v>
                </c:pt>
                <c:pt idx="159">
                  <c:v>20</c:v>
                </c:pt>
                <c:pt idx="160">
                  <c:v>55</c:v>
                </c:pt>
                <c:pt idx="161">
                  <c:v>43</c:v>
                </c:pt>
                <c:pt idx="162">
                  <c:v>43</c:v>
                </c:pt>
                <c:pt idx="163">
                  <c:v>33</c:v>
                </c:pt>
                <c:pt idx="164">
                  <c:v>31</c:v>
                </c:pt>
                <c:pt idx="165">
                  <c:v>9</c:v>
                </c:pt>
                <c:pt idx="166">
                  <c:v>9</c:v>
                </c:pt>
                <c:pt idx="167">
                  <c:v>49</c:v>
                </c:pt>
                <c:pt idx="168">
                  <c:v>41</c:v>
                </c:pt>
                <c:pt idx="169">
                  <c:v>29</c:v>
                </c:pt>
                <c:pt idx="170">
                  <c:v>29</c:v>
                </c:pt>
                <c:pt idx="171">
                  <c:v>25</c:v>
                </c:pt>
                <c:pt idx="172">
                  <c:v>8</c:v>
                </c:pt>
                <c:pt idx="173">
                  <c:v>10</c:v>
                </c:pt>
                <c:pt idx="174">
                  <c:v>42</c:v>
                </c:pt>
                <c:pt idx="175">
                  <c:v>35</c:v>
                </c:pt>
                <c:pt idx="176">
                  <c:v>20</c:v>
                </c:pt>
                <c:pt idx="177">
                  <c:v>25</c:v>
                </c:pt>
                <c:pt idx="178">
                  <c:v>23</c:v>
                </c:pt>
                <c:pt idx="179">
                  <c:v>9</c:v>
                </c:pt>
                <c:pt idx="180">
                  <c:v>1</c:v>
                </c:pt>
                <c:pt idx="181">
                  <c:v>26</c:v>
                </c:pt>
                <c:pt idx="182">
                  <c:v>37</c:v>
                </c:pt>
                <c:pt idx="183">
                  <c:v>17</c:v>
                </c:pt>
                <c:pt idx="184">
                  <c:v>24</c:v>
                </c:pt>
                <c:pt idx="185">
                  <c:v>28</c:v>
                </c:pt>
                <c:pt idx="186">
                  <c:v>5</c:v>
                </c:pt>
                <c:pt idx="187">
                  <c:v>6</c:v>
                </c:pt>
                <c:pt idx="188">
                  <c:v>23</c:v>
                </c:pt>
                <c:pt idx="189">
                  <c:v>24</c:v>
                </c:pt>
                <c:pt idx="190">
                  <c:v>21</c:v>
                </c:pt>
                <c:pt idx="191">
                  <c:v>11</c:v>
                </c:pt>
                <c:pt idx="192">
                  <c:v>16</c:v>
                </c:pt>
                <c:pt idx="193">
                  <c:v>1</c:v>
                </c:pt>
                <c:pt idx="19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61F-4BF3-B4EC-6DB3BC1760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61F-4BF3-B4EC-6DB3BC17602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213</c:v>
                </c:pt>
                <c:pt idx="122">
                  <c:v>207</c:v>
                </c:pt>
                <c:pt idx="123">
                  <c:v>201</c:v>
                </c:pt>
                <c:pt idx="124">
                  <c:v>196</c:v>
                </c:pt>
                <c:pt idx="125">
                  <c:v>190</c:v>
                </c:pt>
                <c:pt idx="126">
                  <c:v>185</c:v>
                </c:pt>
                <c:pt idx="127">
                  <c:v>180</c:v>
                </c:pt>
                <c:pt idx="128">
                  <c:v>175</c:v>
                </c:pt>
                <c:pt idx="129">
                  <c:v>170</c:v>
                </c:pt>
                <c:pt idx="130">
                  <c:v>165</c:v>
                </c:pt>
                <c:pt idx="131">
                  <c:v>160</c:v>
                </c:pt>
                <c:pt idx="132">
                  <c:v>155</c:v>
                </c:pt>
                <c:pt idx="133">
                  <c:v>151</c:v>
                </c:pt>
                <c:pt idx="134">
                  <c:v>146</c:v>
                </c:pt>
                <c:pt idx="135">
                  <c:v>142</c:v>
                </c:pt>
                <c:pt idx="136">
                  <c:v>138</c:v>
                </c:pt>
                <c:pt idx="137">
                  <c:v>134</c:v>
                </c:pt>
                <c:pt idx="138">
                  <c:v>130</c:v>
                </c:pt>
                <c:pt idx="139">
                  <c:v>126</c:v>
                </c:pt>
                <c:pt idx="140">
                  <c:v>122</c:v>
                </c:pt>
                <c:pt idx="141">
                  <c:v>118</c:v>
                </c:pt>
                <c:pt idx="142">
                  <c:v>115</c:v>
                </c:pt>
                <c:pt idx="143">
                  <c:v>111</c:v>
                </c:pt>
                <c:pt idx="144">
                  <c:v>107</c:v>
                </c:pt>
                <c:pt idx="145">
                  <c:v>104</c:v>
                </c:pt>
                <c:pt idx="146">
                  <c:v>101</c:v>
                </c:pt>
                <c:pt idx="147">
                  <c:v>97</c:v>
                </c:pt>
                <c:pt idx="148">
                  <c:v>94</c:v>
                </c:pt>
                <c:pt idx="149">
                  <c:v>91</c:v>
                </c:pt>
                <c:pt idx="150">
                  <c:v>88</c:v>
                </c:pt>
                <c:pt idx="151">
                  <c:v>85</c:v>
                </c:pt>
                <c:pt idx="152">
                  <c:v>82</c:v>
                </c:pt>
                <c:pt idx="153">
                  <c:v>79</c:v>
                </c:pt>
                <c:pt idx="154">
                  <c:v>76</c:v>
                </c:pt>
                <c:pt idx="155">
                  <c:v>73</c:v>
                </c:pt>
                <c:pt idx="156">
                  <c:v>71</c:v>
                </c:pt>
                <c:pt idx="157">
                  <c:v>68</c:v>
                </c:pt>
                <c:pt idx="158">
                  <c:v>66</c:v>
                </c:pt>
                <c:pt idx="159">
                  <c:v>63</c:v>
                </c:pt>
                <c:pt idx="160">
                  <c:v>61</c:v>
                </c:pt>
                <c:pt idx="161">
                  <c:v>58</c:v>
                </c:pt>
                <c:pt idx="162">
                  <c:v>56</c:v>
                </c:pt>
                <c:pt idx="163">
                  <c:v>54</c:v>
                </c:pt>
                <c:pt idx="164">
                  <c:v>52</c:v>
                </c:pt>
                <c:pt idx="165">
                  <c:v>50</c:v>
                </c:pt>
                <c:pt idx="166">
                  <c:v>48</c:v>
                </c:pt>
                <c:pt idx="167">
                  <c:v>46</c:v>
                </c:pt>
                <c:pt idx="168">
                  <c:v>44</c:v>
                </c:pt>
                <c:pt idx="169">
                  <c:v>42</c:v>
                </c:pt>
                <c:pt idx="170">
                  <c:v>40</c:v>
                </c:pt>
                <c:pt idx="171">
                  <c:v>38</c:v>
                </c:pt>
                <c:pt idx="172">
                  <c:v>36</c:v>
                </c:pt>
                <c:pt idx="173">
                  <c:v>35</c:v>
                </c:pt>
                <c:pt idx="174">
                  <c:v>33</c:v>
                </c:pt>
                <c:pt idx="175">
                  <c:v>31</c:v>
                </c:pt>
                <c:pt idx="176">
                  <c:v>30</c:v>
                </c:pt>
                <c:pt idx="177">
                  <c:v>28</c:v>
                </c:pt>
                <c:pt idx="178">
                  <c:v>27</c:v>
                </c:pt>
                <c:pt idx="179">
                  <c:v>25</c:v>
                </c:pt>
                <c:pt idx="180">
                  <c:v>24</c:v>
                </c:pt>
                <c:pt idx="181">
                  <c:v>23</c:v>
                </c:pt>
                <c:pt idx="182">
                  <c:v>21</c:v>
                </c:pt>
                <c:pt idx="183">
                  <c:v>20</c:v>
                </c:pt>
                <c:pt idx="184">
                  <c:v>19</c:v>
                </c:pt>
                <c:pt idx="185">
                  <c:v>18</c:v>
                </c:pt>
                <c:pt idx="186">
                  <c:v>17</c:v>
                </c:pt>
                <c:pt idx="187">
                  <c:v>16</c:v>
                </c:pt>
                <c:pt idx="188">
                  <c:v>15</c:v>
                </c:pt>
                <c:pt idx="189">
                  <c:v>14</c:v>
                </c:pt>
                <c:pt idx="190">
                  <c:v>13</c:v>
                </c:pt>
                <c:pt idx="191">
                  <c:v>12</c:v>
                </c:pt>
                <c:pt idx="192">
                  <c:v>12</c:v>
                </c:pt>
                <c:pt idx="193">
                  <c:v>11</c:v>
                </c:pt>
                <c:pt idx="194">
                  <c:v>10</c:v>
                </c:pt>
                <c:pt idx="195">
                  <c:v>10</c:v>
                </c:pt>
                <c:pt idx="196">
                  <c:v>9</c:v>
                </c:pt>
                <c:pt idx="197">
                  <c:v>9</c:v>
                </c:pt>
                <c:pt idx="198">
                  <c:v>8</c:v>
                </c:pt>
                <c:pt idx="199">
                  <c:v>8</c:v>
                </c:pt>
                <c:pt idx="200">
                  <c:v>7</c:v>
                </c:pt>
                <c:pt idx="201">
                  <c:v>7</c:v>
                </c:pt>
                <c:pt idx="202">
                  <c:v>6</c:v>
                </c:pt>
                <c:pt idx="203">
                  <c:v>6</c:v>
                </c:pt>
                <c:pt idx="204">
                  <c:v>5</c:v>
                </c:pt>
                <c:pt idx="205">
                  <c:v>5</c:v>
                </c:pt>
                <c:pt idx="206">
                  <c:v>5</c:v>
                </c:pt>
                <c:pt idx="207">
                  <c:v>4</c:v>
                </c:pt>
                <c:pt idx="208">
                  <c:v>4</c:v>
                </c:pt>
                <c:pt idx="209">
                  <c:v>4</c:v>
                </c:pt>
                <c:pt idx="210">
                  <c:v>4</c:v>
                </c:pt>
                <c:pt idx="211">
                  <c:v>3</c:v>
                </c:pt>
                <c:pt idx="212">
                  <c:v>3</c:v>
                </c:pt>
                <c:pt idx="213">
                  <c:v>3</c:v>
                </c:pt>
                <c:pt idx="214">
                  <c:v>3</c:v>
                </c:pt>
                <c:pt idx="215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61F-4BF3-B4EC-6DB3BC17602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213</c:v>
                </c:pt>
                <c:pt idx="122">
                  <c:v>207</c:v>
                </c:pt>
                <c:pt idx="123">
                  <c:v>201</c:v>
                </c:pt>
                <c:pt idx="124">
                  <c:v>196</c:v>
                </c:pt>
                <c:pt idx="125">
                  <c:v>190</c:v>
                </c:pt>
                <c:pt idx="126">
                  <c:v>185</c:v>
                </c:pt>
                <c:pt idx="127">
                  <c:v>180</c:v>
                </c:pt>
                <c:pt idx="128">
                  <c:v>175</c:v>
                </c:pt>
                <c:pt idx="129">
                  <c:v>170</c:v>
                </c:pt>
                <c:pt idx="130">
                  <c:v>165</c:v>
                </c:pt>
                <c:pt idx="131">
                  <c:v>160</c:v>
                </c:pt>
                <c:pt idx="132">
                  <c:v>155</c:v>
                </c:pt>
                <c:pt idx="133">
                  <c:v>151</c:v>
                </c:pt>
                <c:pt idx="134">
                  <c:v>146</c:v>
                </c:pt>
                <c:pt idx="135">
                  <c:v>142</c:v>
                </c:pt>
                <c:pt idx="136">
                  <c:v>138</c:v>
                </c:pt>
                <c:pt idx="137">
                  <c:v>134</c:v>
                </c:pt>
                <c:pt idx="138">
                  <c:v>130</c:v>
                </c:pt>
                <c:pt idx="139">
                  <c:v>126</c:v>
                </c:pt>
                <c:pt idx="140">
                  <c:v>122</c:v>
                </c:pt>
                <c:pt idx="141">
                  <c:v>118</c:v>
                </c:pt>
                <c:pt idx="142">
                  <c:v>115</c:v>
                </c:pt>
                <c:pt idx="143">
                  <c:v>111</c:v>
                </c:pt>
                <c:pt idx="144">
                  <c:v>107</c:v>
                </c:pt>
                <c:pt idx="145">
                  <c:v>104</c:v>
                </c:pt>
                <c:pt idx="146">
                  <c:v>101</c:v>
                </c:pt>
                <c:pt idx="147">
                  <c:v>97</c:v>
                </c:pt>
                <c:pt idx="148">
                  <c:v>94</c:v>
                </c:pt>
                <c:pt idx="149">
                  <c:v>91</c:v>
                </c:pt>
                <c:pt idx="150">
                  <c:v>88</c:v>
                </c:pt>
                <c:pt idx="151">
                  <c:v>85</c:v>
                </c:pt>
                <c:pt idx="152">
                  <c:v>82</c:v>
                </c:pt>
                <c:pt idx="153">
                  <c:v>79</c:v>
                </c:pt>
                <c:pt idx="154">
                  <c:v>76</c:v>
                </c:pt>
                <c:pt idx="155">
                  <c:v>73</c:v>
                </c:pt>
                <c:pt idx="156">
                  <c:v>71</c:v>
                </c:pt>
                <c:pt idx="157">
                  <c:v>68</c:v>
                </c:pt>
                <c:pt idx="158">
                  <c:v>66</c:v>
                </c:pt>
                <c:pt idx="159">
                  <c:v>63</c:v>
                </c:pt>
                <c:pt idx="160">
                  <c:v>61</c:v>
                </c:pt>
                <c:pt idx="161">
                  <c:v>58</c:v>
                </c:pt>
                <c:pt idx="162">
                  <c:v>56</c:v>
                </c:pt>
                <c:pt idx="163">
                  <c:v>54</c:v>
                </c:pt>
                <c:pt idx="164">
                  <c:v>52</c:v>
                </c:pt>
                <c:pt idx="165">
                  <c:v>50</c:v>
                </c:pt>
                <c:pt idx="166">
                  <c:v>48</c:v>
                </c:pt>
                <c:pt idx="167">
                  <c:v>46</c:v>
                </c:pt>
                <c:pt idx="168">
                  <c:v>45</c:v>
                </c:pt>
                <c:pt idx="169">
                  <c:v>44</c:v>
                </c:pt>
                <c:pt idx="170">
                  <c:v>44</c:v>
                </c:pt>
                <c:pt idx="171">
                  <c:v>44</c:v>
                </c:pt>
                <c:pt idx="172">
                  <c:v>44</c:v>
                </c:pt>
                <c:pt idx="173">
                  <c:v>44</c:v>
                </c:pt>
                <c:pt idx="174">
                  <c:v>44</c:v>
                </c:pt>
                <c:pt idx="175">
                  <c:v>44</c:v>
                </c:pt>
                <c:pt idx="176">
                  <c:v>45</c:v>
                </c:pt>
                <c:pt idx="177">
                  <c:v>46</c:v>
                </c:pt>
                <c:pt idx="178">
                  <c:v>47</c:v>
                </c:pt>
                <c:pt idx="179">
                  <c:v>49</c:v>
                </c:pt>
                <c:pt idx="180">
                  <c:v>50</c:v>
                </c:pt>
                <c:pt idx="181">
                  <c:v>51</c:v>
                </c:pt>
                <c:pt idx="182">
                  <c:v>52</c:v>
                </c:pt>
                <c:pt idx="183">
                  <c:v>53</c:v>
                </c:pt>
                <c:pt idx="184">
                  <c:v>55</c:v>
                </c:pt>
                <c:pt idx="185">
                  <c:v>56</c:v>
                </c:pt>
                <c:pt idx="186">
                  <c:v>57</c:v>
                </c:pt>
                <c:pt idx="187">
                  <c:v>59</c:v>
                </c:pt>
                <c:pt idx="188">
                  <c:v>60</c:v>
                </c:pt>
                <c:pt idx="189">
                  <c:v>61</c:v>
                </c:pt>
                <c:pt idx="190">
                  <c:v>63</c:v>
                </c:pt>
                <c:pt idx="191">
                  <c:v>64</c:v>
                </c:pt>
                <c:pt idx="192">
                  <c:v>66</c:v>
                </c:pt>
                <c:pt idx="193">
                  <c:v>67</c:v>
                </c:pt>
                <c:pt idx="194">
                  <c:v>68</c:v>
                </c:pt>
                <c:pt idx="195">
                  <c:v>70</c:v>
                </c:pt>
                <c:pt idx="196">
                  <c:v>71</c:v>
                </c:pt>
                <c:pt idx="197">
                  <c:v>72</c:v>
                </c:pt>
                <c:pt idx="198">
                  <c:v>73</c:v>
                </c:pt>
                <c:pt idx="199">
                  <c:v>74</c:v>
                </c:pt>
                <c:pt idx="200">
                  <c:v>75</c:v>
                </c:pt>
                <c:pt idx="201">
                  <c:v>76</c:v>
                </c:pt>
                <c:pt idx="202">
                  <c:v>77</c:v>
                </c:pt>
                <c:pt idx="203">
                  <c:v>77</c:v>
                </c:pt>
                <c:pt idx="204">
                  <c:v>78</c:v>
                </c:pt>
                <c:pt idx="205">
                  <c:v>78</c:v>
                </c:pt>
                <c:pt idx="206">
                  <c:v>78</c:v>
                </c:pt>
                <c:pt idx="207">
                  <c:v>79</c:v>
                </c:pt>
                <c:pt idx="208">
                  <c:v>79</c:v>
                </c:pt>
                <c:pt idx="209">
                  <c:v>79</c:v>
                </c:pt>
                <c:pt idx="210">
                  <c:v>78</c:v>
                </c:pt>
                <c:pt idx="211">
                  <c:v>78</c:v>
                </c:pt>
                <c:pt idx="212">
                  <c:v>78</c:v>
                </c:pt>
                <c:pt idx="213">
                  <c:v>77</c:v>
                </c:pt>
                <c:pt idx="214">
                  <c:v>76</c:v>
                </c:pt>
                <c:pt idx="215">
                  <c:v>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61F-4BF3-B4EC-6DB3BC176025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61F-4BF3-B4EC-6DB3BC176025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61F-4BF3-B4EC-6DB3BC1760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78</c:v>
                </c:pt>
                <c:pt idx="1">
                  <c:v>183</c:v>
                </c:pt>
                <c:pt idx="2">
                  <c:v>87</c:v>
                </c:pt>
                <c:pt idx="3">
                  <c:v>112</c:v>
                </c:pt>
                <c:pt idx="4">
                  <c:v>123</c:v>
                </c:pt>
                <c:pt idx="5">
                  <c:v>15</c:v>
                </c:pt>
                <c:pt idx="6">
                  <c:v>125</c:v>
                </c:pt>
                <c:pt idx="7">
                  <c:v>16</c:v>
                </c:pt>
                <c:pt idx="8">
                  <c:v>166</c:v>
                </c:pt>
                <c:pt idx="9">
                  <c:v>199</c:v>
                </c:pt>
                <c:pt idx="10">
                  <c:v>41</c:v>
                </c:pt>
                <c:pt idx="11">
                  <c:v>96</c:v>
                </c:pt>
                <c:pt idx="12">
                  <c:v>60</c:v>
                </c:pt>
                <c:pt idx="13">
                  <c:v>47</c:v>
                </c:pt>
                <c:pt idx="14">
                  <c:v>121</c:v>
                </c:pt>
                <c:pt idx="15">
                  <c:v>202</c:v>
                </c:pt>
                <c:pt idx="16">
                  <c:v>251</c:v>
                </c:pt>
                <c:pt idx="17">
                  <c:v>205</c:v>
                </c:pt>
                <c:pt idx="18">
                  <c:v>79</c:v>
                </c:pt>
                <c:pt idx="19">
                  <c:v>32</c:v>
                </c:pt>
                <c:pt idx="20">
                  <c:v>235</c:v>
                </c:pt>
                <c:pt idx="21">
                  <c:v>291</c:v>
                </c:pt>
                <c:pt idx="22">
                  <c:v>92</c:v>
                </c:pt>
                <c:pt idx="23">
                  <c:v>206</c:v>
                </c:pt>
                <c:pt idx="24">
                  <c:v>33</c:v>
                </c:pt>
                <c:pt idx="25">
                  <c:v>17</c:v>
                </c:pt>
                <c:pt idx="26">
                  <c:v>12</c:v>
                </c:pt>
                <c:pt idx="27">
                  <c:v>246</c:v>
                </c:pt>
                <c:pt idx="28">
                  <c:v>231</c:v>
                </c:pt>
                <c:pt idx="29">
                  <c:v>488</c:v>
                </c:pt>
                <c:pt idx="30">
                  <c:v>376</c:v>
                </c:pt>
                <c:pt idx="31">
                  <c:v>248</c:v>
                </c:pt>
                <c:pt idx="32">
                  <c:v>67</c:v>
                </c:pt>
                <c:pt idx="33">
                  <c:v>55</c:v>
                </c:pt>
                <c:pt idx="34">
                  <c:v>182</c:v>
                </c:pt>
                <c:pt idx="35">
                  <c:v>415</c:v>
                </c:pt>
                <c:pt idx="36">
                  <c:v>556</c:v>
                </c:pt>
                <c:pt idx="37">
                  <c:v>370</c:v>
                </c:pt>
                <c:pt idx="38">
                  <c:v>413</c:v>
                </c:pt>
                <c:pt idx="39">
                  <c:v>461</c:v>
                </c:pt>
                <c:pt idx="40">
                  <c:v>47</c:v>
                </c:pt>
                <c:pt idx="41">
                  <c:v>81</c:v>
                </c:pt>
                <c:pt idx="42">
                  <c:v>308</c:v>
                </c:pt>
                <c:pt idx="43">
                  <c:v>431</c:v>
                </c:pt>
                <c:pt idx="44">
                  <c:v>391</c:v>
                </c:pt>
                <c:pt idx="45">
                  <c:v>295</c:v>
                </c:pt>
                <c:pt idx="46">
                  <c:v>382</c:v>
                </c:pt>
                <c:pt idx="47">
                  <c:v>10</c:v>
                </c:pt>
                <c:pt idx="48">
                  <c:v>119</c:v>
                </c:pt>
                <c:pt idx="49">
                  <c:v>819</c:v>
                </c:pt>
                <c:pt idx="50">
                  <c:v>137</c:v>
                </c:pt>
                <c:pt idx="51">
                  <c:v>428</c:v>
                </c:pt>
                <c:pt idx="52">
                  <c:v>483</c:v>
                </c:pt>
                <c:pt idx="53">
                  <c:v>319</c:v>
                </c:pt>
                <c:pt idx="54">
                  <c:v>134</c:v>
                </c:pt>
                <c:pt idx="55">
                  <c:v>179</c:v>
                </c:pt>
                <c:pt idx="56">
                  <c:v>505</c:v>
                </c:pt>
                <c:pt idx="57">
                  <c:v>531</c:v>
                </c:pt>
                <c:pt idx="58">
                  <c:v>795</c:v>
                </c:pt>
                <c:pt idx="59">
                  <c:v>472</c:v>
                </c:pt>
                <c:pt idx="60">
                  <c:v>405</c:v>
                </c:pt>
                <c:pt idx="61">
                  <c:v>286</c:v>
                </c:pt>
                <c:pt idx="62">
                  <c:v>346</c:v>
                </c:pt>
                <c:pt idx="63">
                  <c:v>539</c:v>
                </c:pt>
                <c:pt idx="64">
                  <c:v>850</c:v>
                </c:pt>
                <c:pt idx="65">
                  <c:v>334</c:v>
                </c:pt>
                <c:pt idx="66">
                  <c:v>586</c:v>
                </c:pt>
                <c:pt idx="67">
                  <c:v>593</c:v>
                </c:pt>
                <c:pt idx="68">
                  <c:v>158</c:v>
                </c:pt>
                <c:pt idx="69">
                  <c:v>149</c:v>
                </c:pt>
                <c:pt idx="70">
                  <c:v>773</c:v>
                </c:pt>
                <c:pt idx="71">
                  <c:v>699</c:v>
                </c:pt>
                <c:pt idx="72">
                  <c:v>445</c:v>
                </c:pt>
                <c:pt idx="73">
                  <c:v>646</c:v>
                </c:pt>
                <c:pt idx="74">
                  <c:v>240</c:v>
                </c:pt>
                <c:pt idx="75">
                  <c:v>33</c:v>
                </c:pt>
                <c:pt idx="76">
                  <c:v>212</c:v>
                </c:pt>
                <c:pt idx="77">
                  <c:v>968</c:v>
                </c:pt>
                <c:pt idx="78">
                  <c:v>648</c:v>
                </c:pt>
                <c:pt idx="79">
                  <c:v>718</c:v>
                </c:pt>
                <c:pt idx="80">
                  <c:v>317</c:v>
                </c:pt>
                <c:pt idx="81">
                  <c:v>392</c:v>
                </c:pt>
                <c:pt idx="82">
                  <c:v>48</c:v>
                </c:pt>
                <c:pt idx="83">
                  <c:v>403</c:v>
                </c:pt>
                <c:pt idx="84">
                  <c:v>961</c:v>
                </c:pt>
                <c:pt idx="85">
                  <c:v>327</c:v>
                </c:pt>
                <c:pt idx="86">
                  <c:v>1001</c:v>
                </c:pt>
                <c:pt idx="87">
                  <c:v>512</c:v>
                </c:pt>
                <c:pt idx="88">
                  <c:v>138</c:v>
                </c:pt>
                <c:pt idx="89">
                  <c:v>59</c:v>
                </c:pt>
                <c:pt idx="90">
                  <c:v>474</c:v>
                </c:pt>
                <c:pt idx="91">
                  <c:v>501</c:v>
                </c:pt>
                <c:pt idx="92">
                  <c:v>528</c:v>
                </c:pt>
                <c:pt idx="93">
                  <c:v>342</c:v>
                </c:pt>
                <c:pt idx="94">
                  <c:v>315</c:v>
                </c:pt>
                <c:pt idx="95">
                  <c:v>137</c:v>
                </c:pt>
                <c:pt idx="96">
                  <c:v>27</c:v>
                </c:pt>
                <c:pt idx="97">
                  <c:v>68</c:v>
                </c:pt>
                <c:pt idx="98">
                  <c:v>357</c:v>
                </c:pt>
                <c:pt idx="99">
                  <c:v>541</c:v>
                </c:pt>
                <c:pt idx="100">
                  <c:v>210</c:v>
                </c:pt>
                <c:pt idx="101">
                  <c:v>93</c:v>
                </c:pt>
                <c:pt idx="102">
                  <c:v>192</c:v>
                </c:pt>
                <c:pt idx="103">
                  <c:v>110</c:v>
                </c:pt>
                <c:pt idx="104">
                  <c:v>43</c:v>
                </c:pt>
                <c:pt idx="105">
                  <c:v>250</c:v>
                </c:pt>
                <c:pt idx="106">
                  <c:v>217</c:v>
                </c:pt>
                <c:pt idx="107">
                  <c:v>234</c:v>
                </c:pt>
                <c:pt idx="108">
                  <c:v>72</c:v>
                </c:pt>
                <c:pt idx="109">
                  <c:v>136</c:v>
                </c:pt>
                <c:pt idx="110">
                  <c:v>20</c:v>
                </c:pt>
                <c:pt idx="111">
                  <c:v>54</c:v>
                </c:pt>
                <c:pt idx="112">
                  <c:v>107</c:v>
                </c:pt>
                <c:pt idx="113">
                  <c:v>153</c:v>
                </c:pt>
                <c:pt idx="114">
                  <c:v>32</c:v>
                </c:pt>
                <c:pt idx="115">
                  <c:v>111</c:v>
                </c:pt>
                <c:pt idx="116">
                  <c:v>26</c:v>
                </c:pt>
                <c:pt idx="117">
                  <c:v>13</c:v>
                </c:pt>
                <c:pt idx="118">
                  <c:v>48</c:v>
                </c:pt>
                <c:pt idx="119">
                  <c:v>79</c:v>
                </c:pt>
                <c:pt idx="120">
                  <c:v>129</c:v>
                </c:pt>
                <c:pt idx="121">
                  <c:v>13</c:v>
                </c:pt>
                <c:pt idx="122">
                  <c:v>82</c:v>
                </c:pt>
                <c:pt idx="123">
                  <c:v>3</c:v>
                </c:pt>
                <c:pt idx="124">
                  <c:v>2</c:v>
                </c:pt>
                <c:pt idx="125">
                  <c:v>32</c:v>
                </c:pt>
                <c:pt idx="126">
                  <c:v>14</c:v>
                </c:pt>
                <c:pt idx="127">
                  <c:v>74</c:v>
                </c:pt>
                <c:pt idx="128">
                  <c:v>56</c:v>
                </c:pt>
                <c:pt idx="129">
                  <c:v>75</c:v>
                </c:pt>
                <c:pt idx="130">
                  <c:v>5</c:v>
                </c:pt>
                <c:pt idx="131">
                  <c:v>14</c:v>
                </c:pt>
                <c:pt idx="132">
                  <c:v>45</c:v>
                </c:pt>
                <c:pt idx="133">
                  <c:v>63</c:v>
                </c:pt>
                <c:pt idx="134">
                  <c:v>9</c:v>
                </c:pt>
                <c:pt idx="135">
                  <c:v>26</c:v>
                </c:pt>
                <c:pt idx="136">
                  <c:v>37</c:v>
                </c:pt>
                <c:pt idx="137">
                  <c:v>3</c:v>
                </c:pt>
                <c:pt idx="138">
                  <c:v>11</c:v>
                </c:pt>
                <c:pt idx="139">
                  <c:v>41</c:v>
                </c:pt>
                <c:pt idx="140">
                  <c:v>10</c:v>
                </c:pt>
                <c:pt idx="141">
                  <c:v>39</c:v>
                </c:pt>
                <c:pt idx="142">
                  <c:v>4</c:v>
                </c:pt>
                <c:pt idx="143">
                  <c:v>21</c:v>
                </c:pt>
                <c:pt idx="144">
                  <c:v>18</c:v>
                </c:pt>
                <c:pt idx="145">
                  <c:v>0</c:v>
                </c:pt>
                <c:pt idx="146">
                  <c:v>26</c:v>
                </c:pt>
                <c:pt idx="147">
                  <c:v>6</c:v>
                </c:pt>
                <c:pt idx="148">
                  <c:v>74</c:v>
                </c:pt>
                <c:pt idx="149">
                  <c:v>9</c:v>
                </c:pt>
                <c:pt idx="150">
                  <c:v>16</c:v>
                </c:pt>
                <c:pt idx="151">
                  <c:v>26</c:v>
                </c:pt>
                <c:pt idx="152">
                  <c:v>1</c:v>
                </c:pt>
                <c:pt idx="153">
                  <c:v>8</c:v>
                </c:pt>
                <c:pt idx="154">
                  <c:v>23</c:v>
                </c:pt>
                <c:pt idx="155">
                  <c:v>34</c:v>
                </c:pt>
                <c:pt idx="156">
                  <c:v>8</c:v>
                </c:pt>
                <c:pt idx="157">
                  <c:v>14</c:v>
                </c:pt>
                <c:pt idx="158">
                  <c:v>11</c:v>
                </c:pt>
                <c:pt idx="159">
                  <c:v>1</c:v>
                </c:pt>
                <c:pt idx="160">
                  <c:v>26</c:v>
                </c:pt>
                <c:pt idx="161">
                  <c:v>8</c:v>
                </c:pt>
                <c:pt idx="162">
                  <c:v>21</c:v>
                </c:pt>
                <c:pt idx="163">
                  <c:v>12</c:v>
                </c:pt>
                <c:pt idx="164">
                  <c:v>7</c:v>
                </c:pt>
                <c:pt idx="165">
                  <c:v>16</c:v>
                </c:pt>
                <c:pt idx="166">
                  <c:v>0</c:v>
                </c:pt>
                <c:pt idx="167">
                  <c:v>15</c:v>
                </c:pt>
                <c:pt idx="168">
                  <c:v>20</c:v>
                </c:pt>
                <c:pt idx="169">
                  <c:v>3</c:v>
                </c:pt>
                <c:pt idx="170">
                  <c:v>1</c:v>
                </c:pt>
                <c:pt idx="171">
                  <c:v>5</c:v>
                </c:pt>
                <c:pt idx="172">
                  <c:v>0</c:v>
                </c:pt>
                <c:pt idx="173">
                  <c:v>0</c:v>
                </c:pt>
                <c:pt idx="174">
                  <c:v>2</c:v>
                </c:pt>
                <c:pt idx="175">
                  <c:v>2</c:v>
                </c:pt>
                <c:pt idx="176">
                  <c:v>3</c:v>
                </c:pt>
                <c:pt idx="177">
                  <c:v>3</c:v>
                </c:pt>
                <c:pt idx="178">
                  <c:v>7</c:v>
                </c:pt>
                <c:pt idx="179">
                  <c:v>0</c:v>
                </c:pt>
                <c:pt idx="180">
                  <c:v>0</c:v>
                </c:pt>
                <c:pt idx="181">
                  <c:v>1</c:v>
                </c:pt>
                <c:pt idx="182">
                  <c:v>2</c:v>
                </c:pt>
                <c:pt idx="183">
                  <c:v>3</c:v>
                </c:pt>
                <c:pt idx="184">
                  <c:v>0</c:v>
                </c:pt>
                <c:pt idx="185">
                  <c:v>2</c:v>
                </c:pt>
                <c:pt idx="186">
                  <c:v>1</c:v>
                </c:pt>
                <c:pt idx="187">
                  <c:v>2</c:v>
                </c:pt>
                <c:pt idx="188">
                  <c:v>5</c:v>
                </c:pt>
                <c:pt idx="189">
                  <c:v>0</c:v>
                </c:pt>
                <c:pt idx="190">
                  <c:v>4</c:v>
                </c:pt>
                <c:pt idx="191">
                  <c:v>4</c:v>
                </c:pt>
                <c:pt idx="192">
                  <c:v>2</c:v>
                </c:pt>
                <c:pt idx="193">
                  <c:v>0</c:v>
                </c:pt>
                <c:pt idx="19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9B7-4167-B807-D06FF421F8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9B7-4167-B807-D06FF421F89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69</c:v>
                </c:pt>
                <c:pt idx="122">
                  <c:v>67</c:v>
                </c:pt>
                <c:pt idx="123">
                  <c:v>65</c:v>
                </c:pt>
                <c:pt idx="124">
                  <c:v>63</c:v>
                </c:pt>
                <c:pt idx="125">
                  <c:v>62</c:v>
                </c:pt>
                <c:pt idx="126">
                  <c:v>60</c:v>
                </c:pt>
                <c:pt idx="127">
                  <c:v>58</c:v>
                </c:pt>
                <c:pt idx="128">
                  <c:v>57</c:v>
                </c:pt>
                <c:pt idx="129">
                  <c:v>55</c:v>
                </c:pt>
                <c:pt idx="130">
                  <c:v>53</c:v>
                </c:pt>
                <c:pt idx="131">
                  <c:v>52</c:v>
                </c:pt>
                <c:pt idx="132">
                  <c:v>50</c:v>
                </c:pt>
                <c:pt idx="133">
                  <c:v>49</c:v>
                </c:pt>
                <c:pt idx="134">
                  <c:v>47</c:v>
                </c:pt>
                <c:pt idx="135">
                  <c:v>46</c:v>
                </c:pt>
                <c:pt idx="136">
                  <c:v>45</c:v>
                </c:pt>
                <c:pt idx="137">
                  <c:v>43</c:v>
                </c:pt>
                <c:pt idx="138">
                  <c:v>42</c:v>
                </c:pt>
                <c:pt idx="139">
                  <c:v>41</c:v>
                </c:pt>
                <c:pt idx="140">
                  <c:v>40</c:v>
                </c:pt>
                <c:pt idx="141">
                  <c:v>38</c:v>
                </c:pt>
                <c:pt idx="142">
                  <c:v>37</c:v>
                </c:pt>
                <c:pt idx="143">
                  <c:v>36</c:v>
                </c:pt>
                <c:pt idx="144">
                  <c:v>35</c:v>
                </c:pt>
                <c:pt idx="145">
                  <c:v>34</c:v>
                </c:pt>
                <c:pt idx="146">
                  <c:v>33</c:v>
                </c:pt>
                <c:pt idx="147">
                  <c:v>31</c:v>
                </c:pt>
                <c:pt idx="148">
                  <c:v>30</c:v>
                </c:pt>
                <c:pt idx="149">
                  <c:v>29</c:v>
                </c:pt>
                <c:pt idx="150">
                  <c:v>28</c:v>
                </c:pt>
                <c:pt idx="151">
                  <c:v>27</c:v>
                </c:pt>
                <c:pt idx="152">
                  <c:v>26</c:v>
                </c:pt>
                <c:pt idx="153">
                  <c:v>26</c:v>
                </c:pt>
                <c:pt idx="154">
                  <c:v>25</c:v>
                </c:pt>
                <c:pt idx="155">
                  <c:v>24</c:v>
                </c:pt>
                <c:pt idx="156">
                  <c:v>23</c:v>
                </c:pt>
                <c:pt idx="157">
                  <c:v>22</c:v>
                </c:pt>
                <c:pt idx="158">
                  <c:v>21</c:v>
                </c:pt>
                <c:pt idx="159">
                  <c:v>20</c:v>
                </c:pt>
                <c:pt idx="160">
                  <c:v>20</c:v>
                </c:pt>
                <c:pt idx="161">
                  <c:v>19</c:v>
                </c:pt>
                <c:pt idx="162">
                  <c:v>18</c:v>
                </c:pt>
                <c:pt idx="163">
                  <c:v>17</c:v>
                </c:pt>
                <c:pt idx="164">
                  <c:v>17</c:v>
                </c:pt>
                <c:pt idx="165">
                  <c:v>16</c:v>
                </c:pt>
                <c:pt idx="166">
                  <c:v>15</c:v>
                </c:pt>
                <c:pt idx="167">
                  <c:v>15</c:v>
                </c:pt>
                <c:pt idx="168">
                  <c:v>14</c:v>
                </c:pt>
                <c:pt idx="169">
                  <c:v>14</c:v>
                </c:pt>
                <c:pt idx="170">
                  <c:v>13</c:v>
                </c:pt>
                <c:pt idx="171">
                  <c:v>12</c:v>
                </c:pt>
                <c:pt idx="172">
                  <c:v>12</c:v>
                </c:pt>
                <c:pt idx="173">
                  <c:v>11</c:v>
                </c:pt>
                <c:pt idx="174">
                  <c:v>11</c:v>
                </c:pt>
                <c:pt idx="175">
                  <c:v>10</c:v>
                </c:pt>
                <c:pt idx="176">
                  <c:v>10</c:v>
                </c:pt>
                <c:pt idx="177">
                  <c:v>9</c:v>
                </c:pt>
                <c:pt idx="178">
                  <c:v>9</c:v>
                </c:pt>
                <c:pt idx="179">
                  <c:v>8</c:v>
                </c:pt>
                <c:pt idx="180">
                  <c:v>8</c:v>
                </c:pt>
                <c:pt idx="181">
                  <c:v>7</c:v>
                </c:pt>
                <c:pt idx="182">
                  <c:v>7</c:v>
                </c:pt>
                <c:pt idx="183">
                  <c:v>6</c:v>
                </c:pt>
                <c:pt idx="184">
                  <c:v>6</c:v>
                </c:pt>
                <c:pt idx="185">
                  <c:v>6</c:v>
                </c:pt>
                <c:pt idx="186">
                  <c:v>5</c:v>
                </c:pt>
                <c:pt idx="187">
                  <c:v>5</c:v>
                </c:pt>
                <c:pt idx="188">
                  <c:v>5</c:v>
                </c:pt>
                <c:pt idx="189">
                  <c:v>5</c:v>
                </c:pt>
                <c:pt idx="190">
                  <c:v>4</c:v>
                </c:pt>
                <c:pt idx="191">
                  <c:v>4</c:v>
                </c:pt>
                <c:pt idx="192">
                  <c:v>4</c:v>
                </c:pt>
                <c:pt idx="193">
                  <c:v>4</c:v>
                </c:pt>
                <c:pt idx="194">
                  <c:v>3</c:v>
                </c:pt>
                <c:pt idx="195">
                  <c:v>3</c:v>
                </c:pt>
                <c:pt idx="196">
                  <c:v>3</c:v>
                </c:pt>
                <c:pt idx="197">
                  <c:v>3</c:v>
                </c:pt>
                <c:pt idx="198">
                  <c:v>3</c:v>
                </c:pt>
                <c:pt idx="199">
                  <c:v>2</c:v>
                </c:pt>
                <c:pt idx="200">
                  <c:v>2</c:v>
                </c:pt>
                <c:pt idx="201">
                  <c:v>2</c:v>
                </c:pt>
                <c:pt idx="202">
                  <c:v>2</c:v>
                </c:pt>
                <c:pt idx="203">
                  <c:v>2</c:v>
                </c:pt>
                <c:pt idx="204">
                  <c:v>2</c:v>
                </c:pt>
                <c:pt idx="205">
                  <c:v>2</c:v>
                </c:pt>
                <c:pt idx="206">
                  <c:v>2</c:v>
                </c:pt>
                <c:pt idx="207">
                  <c:v>1</c:v>
                </c:pt>
                <c:pt idx="208">
                  <c:v>1</c:v>
                </c:pt>
                <c:pt idx="209">
                  <c:v>1</c:v>
                </c:pt>
                <c:pt idx="210">
                  <c:v>1</c:v>
                </c:pt>
                <c:pt idx="211">
                  <c:v>1</c:v>
                </c:pt>
                <c:pt idx="212">
                  <c:v>1</c:v>
                </c:pt>
                <c:pt idx="213">
                  <c:v>1</c:v>
                </c:pt>
                <c:pt idx="214">
                  <c:v>1</c:v>
                </c:pt>
                <c:pt idx="215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9B7-4167-B807-D06FF421F89C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69</c:v>
                </c:pt>
                <c:pt idx="122">
                  <c:v>67</c:v>
                </c:pt>
                <c:pt idx="123">
                  <c:v>65</c:v>
                </c:pt>
                <c:pt idx="124">
                  <c:v>63</c:v>
                </c:pt>
                <c:pt idx="125">
                  <c:v>62</c:v>
                </c:pt>
                <c:pt idx="126">
                  <c:v>60</c:v>
                </c:pt>
                <c:pt idx="127">
                  <c:v>58</c:v>
                </c:pt>
                <c:pt idx="128">
                  <c:v>57</c:v>
                </c:pt>
                <c:pt idx="129">
                  <c:v>55</c:v>
                </c:pt>
                <c:pt idx="130">
                  <c:v>53</c:v>
                </c:pt>
                <c:pt idx="131">
                  <c:v>52</c:v>
                </c:pt>
                <c:pt idx="132">
                  <c:v>50</c:v>
                </c:pt>
                <c:pt idx="133">
                  <c:v>49</c:v>
                </c:pt>
                <c:pt idx="134">
                  <c:v>47</c:v>
                </c:pt>
                <c:pt idx="135">
                  <c:v>46</c:v>
                </c:pt>
                <c:pt idx="136">
                  <c:v>45</c:v>
                </c:pt>
                <c:pt idx="137">
                  <c:v>43</c:v>
                </c:pt>
                <c:pt idx="138">
                  <c:v>42</c:v>
                </c:pt>
                <c:pt idx="139">
                  <c:v>41</c:v>
                </c:pt>
                <c:pt idx="140">
                  <c:v>40</c:v>
                </c:pt>
                <c:pt idx="141">
                  <c:v>38</c:v>
                </c:pt>
                <c:pt idx="142">
                  <c:v>37</c:v>
                </c:pt>
                <c:pt idx="143">
                  <c:v>36</c:v>
                </c:pt>
                <c:pt idx="144">
                  <c:v>35</c:v>
                </c:pt>
                <c:pt idx="145">
                  <c:v>34</c:v>
                </c:pt>
                <c:pt idx="146">
                  <c:v>33</c:v>
                </c:pt>
                <c:pt idx="147">
                  <c:v>31</c:v>
                </c:pt>
                <c:pt idx="148">
                  <c:v>30</c:v>
                </c:pt>
                <c:pt idx="149">
                  <c:v>29</c:v>
                </c:pt>
                <c:pt idx="150">
                  <c:v>28</c:v>
                </c:pt>
                <c:pt idx="151">
                  <c:v>27</c:v>
                </c:pt>
                <c:pt idx="152">
                  <c:v>26</c:v>
                </c:pt>
                <c:pt idx="153">
                  <c:v>26</c:v>
                </c:pt>
                <c:pt idx="154">
                  <c:v>25</c:v>
                </c:pt>
                <c:pt idx="155">
                  <c:v>24</c:v>
                </c:pt>
                <c:pt idx="156">
                  <c:v>23</c:v>
                </c:pt>
                <c:pt idx="157">
                  <c:v>22</c:v>
                </c:pt>
                <c:pt idx="158">
                  <c:v>21</c:v>
                </c:pt>
                <c:pt idx="159">
                  <c:v>20</c:v>
                </c:pt>
                <c:pt idx="160">
                  <c:v>20</c:v>
                </c:pt>
                <c:pt idx="161">
                  <c:v>19</c:v>
                </c:pt>
                <c:pt idx="162">
                  <c:v>18</c:v>
                </c:pt>
                <c:pt idx="163">
                  <c:v>17</c:v>
                </c:pt>
                <c:pt idx="164">
                  <c:v>17</c:v>
                </c:pt>
                <c:pt idx="165">
                  <c:v>16</c:v>
                </c:pt>
                <c:pt idx="166">
                  <c:v>15</c:v>
                </c:pt>
                <c:pt idx="167">
                  <c:v>15</c:v>
                </c:pt>
                <c:pt idx="168">
                  <c:v>14</c:v>
                </c:pt>
                <c:pt idx="169">
                  <c:v>14</c:v>
                </c:pt>
                <c:pt idx="170">
                  <c:v>14</c:v>
                </c:pt>
                <c:pt idx="171">
                  <c:v>14</c:v>
                </c:pt>
                <c:pt idx="172">
                  <c:v>14</c:v>
                </c:pt>
                <c:pt idx="173">
                  <c:v>14</c:v>
                </c:pt>
                <c:pt idx="174">
                  <c:v>14</c:v>
                </c:pt>
                <c:pt idx="175">
                  <c:v>14</c:v>
                </c:pt>
                <c:pt idx="176">
                  <c:v>15</c:v>
                </c:pt>
                <c:pt idx="177">
                  <c:v>15</c:v>
                </c:pt>
                <c:pt idx="178">
                  <c:v>15</c:v>
                </c:pt>
                <c:pt idx="179">
                  <c:v>16</c:v>
                </c:pt>
                <c:pt idx="180">
                  <c:v>16</c:v>
                </c:pt>
                <c:pt idx="181">
                  <c:v>17</c:v>
                </c:pt>
                <c:pt idx="182">
                  <c:v>17</c:v>
                </c:pt>
                <c:pt idx="183">
                  <c:v>17</c:v>
                </c:pt>
                <c:pt idx="184">
                  <c:v>18</c:v>
                </c:pt>
                <c:pt idx="185">
                  <c:v>18</c:v>
                </c:pt>
                <c:pt idx="186">
                  <c:v>19</c:v>
                </c:pt>
                <c:pt idx="187">
                  <c:v>19</c:v>
                </c:pt>
                <c:pt idx="188">
                  <c:v>19</c:v>
                </c:pt>
                <c:pt idx="189">
                  <c:v>20</c:v>
                </c:pt>
                <c:pt idx="190">
                  <c:v>20</c:v>
                </c:pt>
                <c:pt idx="191">
                  <c:v>21</c:v>
                </c:pt>
                <c:pt idx="192">
                  <c:v>21</c:v>
                </c:pt>
                <c:pt idx="193">
                  <c:v>22</c:v>
                </c:pt>
                <c:pt idx="194">
                  <c:v>22</c:v>
                </c:pt>
                <c:pt idx="195">
                  <c:v>23</c:v>
                </c:pt>
                <c:pt idx="196">
                  <c:v>23</c:v>
                </c:pt>
                <c:pt idx="197">
                  <c:v>23</c:v>
                </c:pt>
                <c:pt idx="198">
                  <c:v>24</c:v>
                </c:pt>
                <c:pt idx="199">
                  <c:v>24</c:v>
                </c:pt>
                <c:pt idx="200">
                  <c:v>24</c:v>
                </c:pt>
                <c:pt idx="201">
                  <c:v>25</c:v>
                </c:pt>
                <c:pt idx="202">
                  <c:v>25</c:v>
                </c:pt>
                <c:pt idx="203">
                  <c:v>25</c:v>
                </c:pt>
                <c:pt idx="204">
                  <c:v>25</c:v>
                </c:pt>
                <c:pt idx="205">
                  <c:v>25</c:v>
                </c:pt>
                <c:pt idx="206">
                  <c:v>25</c:v>
                </c:pt>
                <c:pt idx="207">
                  <c:v>25</c:v>
                </c:pt>
                <c:pt idx="208">
                  <c:v>25</c:v>
                </c:pt>
                <c:pt idx="209">
                  <c:v>25</c:v>
                </c:pt>
                <c:pt idx="210">
                  <c:v>25</c:v>
                </c:pt>
                <c:pt idx="211">
                  <c:v>25</c:v>
                </c:pt>
                <c:pt idx="212">
                  <c:v>25</c:v>
                </c:pt>
                <c:pt idx="213">
                  <c:v>25</c:v>
                </c:pt>
                <c:pt idx="214">
                  <c:v>25</c:v>
                </c:pt>
                <c:pt idx="215">
                  <c:v>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9B7-4167-B807-D06FF421F89C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9B7-4167-B807-D06FF421F89C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9B7-4167-B807-D06FF421F8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345</c:v>
                </c:pt>
                <c:pt idx="1">
                  <c:v>386</c:v>
                </c:pt>
                <c:pt idx="2">
                  <c:v>390</c:v>
                </c:pt>
                <c:pt idx="3">
                  <c:v>328</c:v>
                </c:pt>
                <c:pt idx="4">
                  <c:v>448</c:v>
                </c:pt>
                <c:pt idx="5">
                  <c:v>16</c:v>
                </c:pt>
                <c:pt idx="6">
                  <c:v>274</c:v>
                </c:pt>
                <c:pt idx="7">
                  <c:v>385</c:v>
                </c:pt>
                <c:pt idx="8">
                  <c:v>460</c:v>
                </c:pt>
                <c:pt idx="9">
                  <c:v>482</c:v>
                </c:pt>
                <c:pt idx="10">
                  <c:v>359</c:v>
                </c:pt>
                <c:pt idx="11">
                  <c:v>316</c:v>
                </c:pt>
                <c:pt idx="12">
                  <c:v>163</c:v>
                </c:pt>
                <c:pt idx="13">
                  <c:v>313</c:v>
                </c:pt>
                <c:pt idx="14">
                  <c:v>574</c:v>
                </c:pt>
                <c:pt idx="15">
                  <c:v>637</c:v>
                </c:pt>
                <c:pt idx="16">
                  <c:v>589</c:v>
                </c:pt>
                <c:pt idx="17">
                  <c:v>517</c:v>
                </c:pt>
                <c:pt idx="18">
                  <c:v>402</c:v>
                </c:pt>
                <c:pt idx="19">
                  <c:v>192</c:v>
                </c:pt>
                <c:pt idx="20">
                  <c:v>472</c:v>
                </c:pt>
                <c:pt idx="21">
                  <c:v>769</c:v>
                </c:pt>
                <c:pt idx="22">
                  <c:v>772</c:v>
                </c:pt>
                <c:pt idx="23">
                  <c:v>301</c:v>
                </c:pt>
                <c:pt idx="24">
                  <c:v>192</c:v>
                </c:pt>
                <c:pt idx="25">
                  <c:v>192</c:v>
                </c:pt>
                <c:pt idx="26">
                  <c:v>278</c:v>
                </c:pt>
                <c:pt idx="27">
                  <c:v>642</c:v>
                </c:pt>
                <c:pt idx="28">
                  <c:v>1176</c:v>
                </c:pt>
                <c:pt idx="29">
                  <c:v>903</c:v>
                </c:pt>
                <c:pt idx="30">
                  <c:v>994</c:v>
                </c:pt>
                <c:pt idx="31">
                  <c:v>394</c:v>
                </c:pt>
                <c:pt idx="32">
                  <c:v>268</c:v>
                </c:pt>
                <c:pt idx="33">
                  <c:v>413</c:v>
                </c:pt>
                <c:pt idx="34">
                  <c:v>705</c:v>
                </c:pt>
                <c:pt idx="35">
                  <c:v>1146</c:v>
                </c:pt>
                <c:pt idx="36">
                  <c:v>1065</c:v>
                </c:pt>
                <c:pt idx="37">
                  <c:v>963</c:v>
                </c:pt>
                <c:pt idx="38">
                  <c:v>873</c:v>
                </c:pt>
                <c:pt idx="39">
                  <c:v>542</c:v>
                </c:pt>
                <c:pt idx="40">
                  <c:v>219</c:v>
                </c:pt>
                <c:pt idx="41">
                  <c:v>458</c:v>
                </c:pt>
                <c:pt idx="42">
                  <c:v>672</c:v>
                </c:pt>
                <c:pt idx="43">
                  <c:v>651</c:v>
                </c:pt>
                <c:pt idx="44">
                  <c:v>476</c:v>
                </c:pt>
                <c:pt idx="45">
                  <c:v>506</c:v>
                </c:pt>
                <c:pt idx="46">
                  <c:v>312</c:v>
                </c:pt>
                <c:pt idx="47">
                  <c:v>130</c:v>
                </c:pt>
                <c:pt idx="48">
                  <c:v>421</c:v>
                </c:pt>
                <c:pt idx="49">
                  <c:v>474</c:v>
                </c:pt>
                <c:pt idx="50">
                  <c:v>514</c:v>
                </c:pt>
                <c:pt idx="51">
                  <c:v>506</c:v>
                </c:pt>
                <c:pt idx="52">
                  <c:v>449</c:v>
                </c:pt>
                <c:pt idx="53">
                  <c:v>201</c:v>
                </c:pt>
                <c:pt idx="54">
                  <c:v>176</c:v>
                </c:pt>
                <c:pt idx="55">
                  <c:v>438</c:v>
                </c:pt>
                <c:pt idx="56">
                  <c:v>506</c:v>
                </c:pt>
                <c:pt idx="57">
                  <c:v>493</c:v>
                </c:pt>
                <c:pt idx="58">
                  <c:v>434</c:v>
                </c:pt>
                <c:pt idx="59">
                  <c:v>491</c:v>
                </c:pt>
                <c:pt idx="60">
                  <c:v>228</c:v>
                </c:pt>
                <c:pt idx="61">
                  <c:v>162</c:v>
                </c:pt>
                <c:pt idx="62">
                  <c:v>443</c:v>
                </c:pt>
                <c:pt idx="63">
                  <c:v>570</c:v>
                </c:pt>
                <c:pt idx="64">
                  <c:v>612</c:v>
                </c:pt>
                <c:pt idx="65">
                  <c:v>552</c:v>
                </c:pt>
                <c:pt idx="66">
                  <c:v>482</c:v>
                </c:pt>
                <c:pt idx="67">
                  <c:v>376</c:v>
                </c:pt>
                <c:pt idx="68">
                  <c:v>165</c:v>
                </c:pt>
                <c:pt idx="69">
                  <c:v>424</c:v>
                </c:pt>
                <c:pt idx="70">
                  <c:v>708</c:v>
                </c:pt>
                <c:pt idx="71">
                  <c:v>625</c:v>
                </c:pt>
                <c:pt idx="72">
                  <c:v>563</c:v>
                </c:pt>
                <c:pt idx="73">
                  <c:v>547</c:v>
                </c:pt>
                <c:pt idx="74">
                  <c:v>466</c:v>
                </c:pt>
                <c:pt idx="75">
                  <c:v>249</c:v>
                </c:pt>
                <c:pt idx="76">
                  <c:v>633</c:v>
                </c:pt>
                <c:pt idx="77">
                  <c:v>853</c:v>
                </c:pt>
                <c:pt idx="78">
                  <c:v>839</c:v>
                </c:pt>
                <c:pt idx="79">
                  <c:v>888</c:v>
                </c:pt>
                <c:pt idx="80">
                  <c:v>816</c:v>
                </c:pt>
                <c:pt idx="81">
                  <c:v>604</c:v>
                </c:pt>
                <c:pt idx="82">
                  <c:v>422</c:v>
                </c:pt>
                <c:pt idx="83">
                  <c:v>878</c:v>
                </c:pt>
                <c:pt idx="84">
                  <c:v>1140</c:v>
                </c:pt>
                <c:pt idx="85">
                  <c:v>1072</c:v>
                </c:pt>
                <c:pt idx="86">
                  <c:v>1127</c:v>
                </c:pt>
                <c:pt idx="87">
                  <c:v>1161</c:v>
                </c:pt>
                <c:pt idx="88">
                  <c:v>744</c:v>
                </c:pt>
                <c:pt idx="89">
                  <c:v>464</c:v>
                </c:pt>
                <c:pt idx="90">
                  <c:v>821</c:v>
                </c:pt>
                <c:pt idx="91">
                  <c:v>1373</c:v>
                </c:pt>
                <c:pt idx="92">
                  <c:v>1346</c:v>
                </c:pt>
                <c:pt idx="93">
                  <c:v>1298</c:v>
                </c:pt>
                <c:pt idx="94">
                  <c:v>1187</c:v>
                </c:pt>
                <c:pt idx="95">
                  <c:v>689</c:v>
                </c:pt>
                <c:pt idx="96">
                  <c:v>402</c:v>
                </c:pt>
                <c:pt idx="97">
                  <c:v>919</c:v>
                </c:pt>
                <c:pt idx="98">
                  <c:v>1399</c:v>
                </c:pt>
                <c:pt idx="99">
                  <c:v>1518</c:v>
                </c:pt>
                <c:pt idx="100">
                  <c:v>1147</c:v>
                </c:pt>
                <c:pt idx="101">
                  <c:v>1332</c:v>
                </c:pt>
                <c:pt idx="102">
                  <c:v>620</c:v>
                </c:pt>
                <c:pt idx="103">
                  <c:v>362</c:v>
                </c:pt>
                <c:pt idx="104">
                  <c:v>888</c:v>
                </c:pt>
                <c:pt idx="105">
                  <c:v>1235</c:v>
                </c:pt>
                <c:pt idx="106">
                  <c:v>1174</c:v>
                </c:pt>
                <c:pt idx="107">
                  <c:v>1101</c:v>
                </c:pt>
                <c:pt idx="108">
                  <c:v>1013</c:v>
                </c:pt>
                <c:pt idx="109">
                  <c:v>627</c:v>
                </c:pt>
                <c:pt idx="110">
                  <c:v>280</c:v>
                </c:pt>
                <c:pt idx="111">
                  <c:v>728</c:v>
                </c:pt>
                <c:pt idx="112">
                  <c:v>1171</c:v>
                </c:pt>
                <c:pt idx="113">
                  <c:v>919</c:v>
                </c:pt>
                <c:pt idx="114">
                  <c:v>854</c:v>
                </c:pt>
                <c:pt idx="115">
                  <c:v>832</c:v>
                </c:pt>
                <c:pt idx="116">
                  <c:v>389</c:v>
                </c:pt>
                <c:pt idx="117">
                  <c:v>267</c:v>
                </c:pt>
                <c:pt idx="118">
                  <c:v>631</c:v>
                </c:pt>
                <c:pt idx="119">
                  <c:v>913</c:v>
                </c:pt>
                <c:pt idx="120">
                  <c:v>691</c:v>
                </c:pt>
                <c:pt idx="121">
                  <c:v>516</c:v>
                </c:pt>
                <c:pt idx="122">
                  <c:v>388</c:v>
                </c:pt>
                <c:pt idx="123">
                  <c:v>324</c:v>
                </c:pt>
                <c:pt idx="124">
                  <c:v>176</c:v>
                </c:pt>
                <c:pt idx="125">
                  <c:v>145</c:v>
                </c:pt>
                <c:pt idx="126">
                  <c:v>565</c:v>
                </c:pt>
                <c:pt idx="127">
                  <c:v>640</c:v>
                </c:pt>
                <c:pt idx="128">
                  <c:v>519</c:v>
                </c:pt>
                <c:pt idx="129">
                  <c:v>463</c:v>
                </c:pt>
                <c:pt idx="130">
                  <c:v>205</c:v>
                </c:pt>
                <c:pt idx="131">
                  <c:v>129</c:v>
                </c:pt>
                <c:pt idx="132">
                  <c:v>408</c:v>
                </c:pt>
                <c:pt idx="133">
                  <c:v>505</c:v>
                </c:pt>
                <c:pt idx="134">
                  <c:v>357</c:v>
                </c:pt>
                <c:pt idx="135">
                  <c:v>325</c:v>
                </c:pt>
                <c:pt idx="136">
                  <c:v>342</c:v>
                </c:pt>
                <c:pt idx="137">
                  <c:v>142</c:v>
                </c:pt>
                <c:pt idx="138">
                  <c:v>85</c:v>
                </c:pt>
                <c:pt idx="139">
                  <c:v>310</c:v>
                </c:pt>
                <c:pt idx="140">
                  <c:v>365</c:v>
                </c:pt>
                <c:pt idx="141">
                  <c:v>286</c:v>
                </c:pt>
                <c:pt idx="142">
                  <c:v>222</c:v>
                </c:pt>
                <c:pt idx="143">
                  <c:v>252</c:v>
                </c:pt>
                <c:pt idx="144">
                  <c:v>101</c:v>
                </c:pt>
                <c:pt idx="145">
                  <c:v>118</c:v>
                </c:pt>
                <c:pt idx="146">
                  <c:v>205</c:v>
                </c:pt>
                <c:pt idx="147">
                  <c:v>321</c:v>
                </c:pt>
                <c:pt idx="148">
                  <c:v>244</c:v>
                </c:pt>
                <c:pt idx="149">
                  <c:v>216</c:v>
                </c:pt>
                <c:pt idx="150">
                  <c:v>252</c:v>
                </c:pt>
                <c:pt idx="151">
                  <c:v>122</c:v>
                </c:pt>
                <c:pt idx="152">
                  <c:v>46</c:v>
                </c:pt>
                <c:pt idx="153">
                  <c:v>230</c:v>
                </c:pt>
                <c:pt idx="154">
                  <c:v>249</c:v>
                </c:pt>
                <c:pt idx="155">
                  <c:v>163</c:v>
                </c:pt>
                <c:pt idx="156">
                  <c:v>154</c:v>
                </c:pt>
                <c:pt idx="157">
                  <c:v>123</c:v>
                </c:pt>
                <c:pt idx="158">
                  <c:v>76</c:v>
                </c:pt>
                <c:pt idx="159">
                  <c:v>20</c:v>
                </c:pt>
                <c:pt idx="160">
                  <c:v>149</c:v>
                </c:pt>
                <c:pt idx="161">
                  <c:v>103</c:v>
                </c:pt>
                <c:pt idx="162">
                  <c:v>118</c:v>
                </c:pt>
                <c:pt idx="163">
                  <c:v>86</c:v>
                </c:pt>
                <c:pt idx="164">
                  <c:v>107</c:v>
                </c:pt>
                <c:pt idx="165">
                  <c:v>45</c:v>
                </c:pt>
                <c:pt idx="166">
                  <c:v>21</c:v>
                </c:pt>
                <c:pt idx="167">
                  <c:v>103</c:v>
                </c:pt>
                <c:pt idx="168">
                  <c:v>78</c:v>
                </c:pt>
                <c:pt idx="169">
                  <c:v>56</c:v>
                </c:pt>
                <c:pt idx="170">
                  <c:v>45</c:v>
                </c:pt>
                <c:pt idx="171">
                  <c:v>43</c:v>
                </c:pt>
                <c:pt idx="172">
                  <c:v>14</c:v>
                </c:pt>
                <c:pt idx="173">
                  <c:v>20</c:v>
                </c:pt>
                <c:pt idx="174">
                  <c:v>66</c:v>
                </c:pt>
                <c:pt idx="175">
                  <c:v>52</c:v>
                </c:pt>
                <c:pt idx="176">
                  <c:v>41</c:v>
                </c:pt>
                <c:pt idx="177">
                  <c:v>36</c:v>
                </c:pt>
                <c:pt idx="178">
                  <c:v>44</c:v>
                </c:pt>
                <c:pt idx="179">
                  <c:v>16</c:v>
                </c:pt>
                <c:pt idx="180">
                  <c:v>2</c:v>
                </c:pt>
                <c:pt idx="181">
                  <c:v>45</c:v>
                </c:pt>
                <c:pt idx="182">
                  <c:v>34</c:v>
                </c:pt>
                <c:pt idx="183">
                  <c:v>18</c:v>
                </c:pt>
                <c:pt idx="184">
                  <c:v>20</c:v>
                </c:pt>
                <c:pt idx="185">
                  <c:v>16</c:v>
                </c:pt>
                <c:pt idx="186">
                  <c:v>21</c:v>
                </c:pt>
                <c:pt idx="187">
                  <c:v>1</c:v>
                </c:pt>
                <c:pt idx="188">
                  <c:v>19</c:v>
                </c:pt>
                <c:pt idx="189">
                  <c:v>24</c:v>
                </c:pt>
                <c:pt idx="190">
                  <c:v>13</c:v>
                </c:pt>
                <c:pt idx="191">
                  <c:v>14</c:v>
                </c:pt>
                <c:pt idx="192">
                  <c:v>7</c:v>
                </c:pt>
                <c:pt idx="193">
                  <c:v>0</c:v>
                </c:pt>
                <c:pt idx="19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B7A-4240-A415-2E2843081A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B7A-4240-A415-2E2843081A4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533</c:v>
                </c:pt>
                <c:pt idx="122">
                  <c:v>518</c:v>
                </c:pt>
                <c:pt idx="123">
                  <c:v>504</c:v>
                </c:pt>
                <c:pt idx="124">
                  <c:v>490</c:v>
                </c:pt>
                <c:pt idx="125">
                  <c:v>476</c:v>
                </c:pt>
                <c:pt idx="126">
                  <c:v>463</c:v>
                </c:pt>
                <c:pt idx="127">
                  <c:v>450</c:v>
                </c:pt>
                <c:pt idx="128">
                  <c:v>437</c:v>
                </c:pt>
                <c:pt idx="129">
                  <c:v>424</c:v>
                </c:pt>
                <c:pt idx="130">
                  <c:v>412</c:v>
                </c:pt>
                <c:pt idx="131">
                  <c:v>400</c:v>
                </c:pt>
                <c:pt idx="132">
                  <c:v>388</c:v>
                </c:pt>
                <c:pt idx="133">
                  <c:v>377</c:v>
                </c:pt>
                <c:pt idx="134">
                  <c:v>366</c:v>
                </c:pt>
                <c:pt idx="135">
                  <c:v>355</c:v>
                </c:pt>
                <c:pt idx="136">
                  <c:v>345</c:v>
                </c:pt>
                <c:pt idx="137">
                  <c:v>335</c:v>
                </c:pt>
                <c:pt idx="138">
                  <c:v>325</c:v>
                </c:pt>
                <c:pt idx="139">
                  <c:v>315</c:v>
                </c:pt>
                <c:pt idx="140">
                  <c:v>305</c:v>
                </c:pt>
                <c:pt idx="141">
                  <c:v>296</c:v>
                </c:pt>
                <c:pt idx="142">
                  <c:v>287</c:v>
                </c:pt>
                <c:pt idx="143">
                  <c:v>278</c:v>
                </c:pt>
                <c:pt idx="144">
                  <c:v>269</c:v>
                </c:pt>
                <c:pt idx="145">
                  <c:v>260</c:v>
                </c:pt>
                <c:pt idx="146">
                  <c:v>252</c:v>
                </c:pt>
                <c:pt idx="147">
                  <c:v>243</c:v>
                </c:pt>
                <c:pt idx="148">
                  <c:v>235</c:v>
                </c:pt>
                <c:pt idx="149">
                  <c:v>227</c:v>
                </c:pt>
                <c:pt idx="150">
                  <c:v>220</c:v>
                </c:pt>
                <c:pt idx="151">
                  <c:v>212</c:v>
                </c:pt>
                <c:pt idx="152">
                  <c:v>205</c:v>
                </c:pt>
                <c:pt idx="153">
                  <c:v>197</c:v>
                </c:pt>
                <c:pt idx="154">
                  <c:v>190</c:v>
                </c:pt>
                <c:pt idx="155">
                  <c:v>184</c:v>
                </c:pt>
                <c:pt idx="156">
                  <c:v>177</c:v>
                </c:pt>
                <c:pt idx="157">
                  <c:v>171</c:v>
                </c:pt>
                <c:pt idx="158">
                  <c:v>164</c:v>
                </c:pt>
                <c:pt idx="159">
                  <c:v>158</c:v>
                </c:pt>
                <c:pt idx="160">
                  <c:v>152</c:v>
                </c:pt>
                <c:pt idx="161">
                  <c:v>146</c:v>
                </c:pt>
                <c:pt idx="162">
                  <c:v>140</c:v>
                </c:pt>
                <c:pt idx="163">
                  <c:v>135</c:v>
                </c:pt>
                <c:pt idx="164">
                  <c:v>130</c:v>
                </c:pt>
                <c:pt idx="165">
                  <c:v>124</c:v>
                </c:pt>
                <c:pt idx="166">
                  <c:v>119</c:v>
                </c:pt>
                <c:pt idx="167">
                  <c:v>114</c:v>
                </c:pt>
                <c:pt idx="168">
                  <c:v>109</c:v>
                </c:pt>
                <c:pt idx="169">
                  <c:v>105</c:v>
                </c:pt>
                <c:pt idx="170">
                  <c:v>100</c:v>
                </c:pt>
                <c:pt idx="171">
                  <c:v>96</c:v>
                </c:pt>
                <c:pt idx="172">
                  <c:v>91</c:v>
                </c:pt>
                <c:pt idx="173">
                  <c:v>87</c:v>
                </c:pt>
                <c:pt idx="174">
                  <c:v>83</c:v>
                </c:pt>
                <c:pt idx="175">
                  <c:v>79</c:v>
                </c:pt>
                <c:pt idx="176">
                  <c:v>75</c:v>
                </c:pt>
                <c:pt idx="177">
                  <c:v>71</c:v>
                </c:pt>
                <c:pt idx="178">
                  <c:v>67</c:v>
                </c:pt>
                <c:pt idx="179">
                  <c:v>63</c:v>
                </c:pt>
                <c:pt idx="180">
                  <c:v>60</c:v>
                </c:pt>
                <c:pt idx="181">
                  <c:v>56</c:v>
                </c:pt>
                <c:pt idx="182">
                  <c:v>53</c:v>
                </c:pt>
                <c:pt idx="183">
                  <c:v>50</c:v>
                </c:pt>
                <c:pt idx="184">
                  <c:v>47</c:v>
                </c:pt>
                <c:pt idx="185">
                  <c:v>45</c:v>
                </c:pt>
                <c:pt idx="186">
                  <c:v>42</c:v>
                </c:pt>
                <c:pt idx="187">
                  <c:v>40</c:v>
                </c:pt>
                <c:pt idx="188">
                  <c:v>37</c:v>
                </c:pt>
                <c:pt idx="189">
                  <c:v>35</c:v>
                </c:pt>
                <c:pt idx="190">
                  <c:v>33</c:v>
                </c:pt>
                <c:pt idx="191">
                  <c:v>31</c:v>
                </c:pt>
                <c:pt idx="192">
                  <c:v>29</c:v>
                </c:pt>
                <c:pt idx="193">
                  <c:v>28</c:v>
                </c:pt>
                <c:pt idx="194">
                  <c:v>26</c:v>
                </c:pt>
                <c:pt idx="195">
                  <c:v>24</c:v>
                </c:pt>
                <c:pt idx="196">
                  <c:v>23</c:v>
                </c:pt>
                <c:pt idx="197">
                  <c:v>22</c:v>
                </c:pt>
                <c:pt idx="198">
                  <c:v>20</c:v>
                </c:pt>
                <c:pt idx="199">
                  <c:v>19</c:v>
                </c:pt>
                <c:pt idx="200">
                  <c:v>18</c:v>
                </c:pt>
                <c:pt idx="201">
                  <c:v>17</c:v>
                </c:pt>
                <c:pt idx="202">
                  <c:v>16</c:v>
                </c:pt>
                <c:pt idx="203">
                  <c:v>15</c:v>
                </c:pt>
                <c:pt idx="204">
                  <c:v>14</c:v>
                </c:pt>
                <c:pt idx="205">
                  <c:v>13</c:v>
                </c:pt>
                <c:pt idx="206">
                  <c:v>12</c:v>
                </c:pt>
                <c:pt idx="207">
                  <c:v>11</c:v>
                </c:pt>
                <c:pt idx="208">
                  <c:v>10</c:v>
                </c:pt>
                <c:pt idx="209">
                  <c:v>9</c:v>
                </c:pt>
                <c:pt idx="210">
                  <c:v>9</c:v>
                </c:pt>
                <c:pt idx="211">
                  <c:v>8</c:v>
                </c:pt>
                <c:pt idx="212">
                  <c:v>8</c:v>
                </c:pt>
                <c:pt idx="213">
                  <c:v>7</c:v>
                </c:pt>
                <c:pt idx="214">
                  <c:v>6</c:v>
                </c:pt>
                <c:pt idx="215">
                  <c:v>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B7A-4240-A415-2E2843081A4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533</c:v>
                </c:pt>
                <c:pt idx="122">
                  <c:v>518</c:v>
                </c:pt>
                <c:pt idx="123">
                  <c:v>504</c:v>
                </c:pt>
                <c:pt idx="124">
                  <c:v>490</c:v>
                </c:pt>
                <c:pt idx="125">
                  <c:v>476</c:v>
                </c:pt>
                <c:pt idx="126">
                  <c:v>463</c:v>
                </c:pt>
                <c:pt idx="127">
                  <c:v>450</c:v>
                </c:pt>
                <c:pt idx="128">
                  <c:v>437</c:v>
                </c:pt>
                <c:pt idx="129">
                  <c:v>424</c:v>
                </c:pt>
                <c:pt idx="130">
                  <c:v>412</c:v>
                </c:pt>
                <c:pt idx="131">
                  <c:v>400</c:v>
                </c:pt>
                <c:pt idx="132">
                  <c:v>388</c:v>
                </c:pt>
                <c:pt idx="133">
                  <c:v>377</c:v>
                </c:pt>
                <c:pt idx="134">
                  <c:v>366</c:v>
                </c:pt>
                <c:pt idx="135">
                  <c:v>355</c:v>
                </c:pt>
                <c:pt idx="136">
                  <c:v>345</c:v>
                </c:pt>
                <c:pt idx="137">
                  <c:v>335</c:v>
                </c:pt>
                <c:pt idx="138">
                  <c:v>325</c:v>
                </c:pt>
                <c:pt idx="139">
                  <c:v>315</c:v>
                </c:pt>
                <c:pt idx="140">
                  <c:v>305</c:v>
                </c:pt>
                <c:pt idx="141">
                  <c:v>296</c:v>
                </c:pt>
                <c:pt idx="142">
                  <c:v>287</c:v>
                </c:pt>
                <c:pt idx="143">
                  <c:v>278</c:v>
                </c:pt>
                <c:pt idx="144">
                  <c:v>269</c:v>
                </c:pt>
                <c:pt idx="145">
                  <c:v>260</c:v>
                </c:pt>
                <c:pt idx="146">
                  <c:v>252</c:v>
                </c:pt>
                <c:pt idx="147">
                  <c:v>243</c:v>
                </c:pt>
                <c:pt idx="148">
                  <c:v>235</c:v>
                </c:pt>
                <c:pt idx="149">
                  <c:v>227</c:v>
                </c:pt>
                <c:pt idx="150">
                  <c:v>220</c:v>
                </c:pt>
                <c:pt idx="151">
                  <c:v>212</c:v>
                </c:pt>
                <c:pt idx="152">
                  <c:v>205</c:v>
                </c:pt>
                <c:pt idx="153">
                  <c:v>197</c:v>
                </c:pt>
                <c:pt idx="154">
                  <c:v>190</c:v>
                </c:pt>
                <c:pt idx="155">
                  <c:v>184</c:v>
                </c:pt>
                <c:pt idx="156">
                  <c:v>177</c:v>
                </c:pt>
                <c:pt idx="157">
                  <c:v>171</c:v>
                </c:pt>
                <c:pt idx="158">
                  <c:v>164</c:v>
                </c:pt>
                <c:pt idx="159">
                  <c:v>158</c:v>
                </c:pt>
                <c:pt idx="160">
                  <c:v>152</c:v>
                </c:pt>
                <c:pt idx="161">
                  <c:v>146</c:v>
                </c:pt>
                <c:pt idx="162">
                  <c:v>140</c:v>
                </c:pt>
                <c:pt idx="163">
                  <c:v>135</c:v>
                </c:pt>
                <c:pt idx="164">
                  <c:v>130</c:v>
                </c:pt>
                <c:pt idx="165">
                  <c:v>124</c:v>
                </c:pt>
                <c:pt idx="166">
                  <c:v>119</c:v>
                </c:pt>
                <c:pt idx="167">
                  <c:v>114</c:v>
                </c:pt>
                <c:pt idx="168">
                  <c:v>112</c:v>
                </c:pt>
                <c:pt idx="169">
                  <c:v>111</c:v>
                </c:pt>
                <c:pt idx="170">
                  <c:v>110</c:v>
                </c:pt>
                <c:pt idx="171">
                  <c:v>110</c:v>
                </c:pt>
                <c:pt idx="172">
                  <c:v>110</c:v>
                </c:pt>
                <c:pt idx="173">
                  <c:v>109</c:v>
                </c:pt>
                <c:pt idx="174">
                  <c:v>109</c:v>
                </c:pt>
                <c:pt idx="175">
                  <c:v>111</c:v>
                </c:pt>
                <c:pt idx="176">
                  <c:v>113</c:v>
                </c:pt>
                <c:pt idx="177">
                  <c:v>116</c:v>
                </c:pt>
                <c:pt idx="178">
                  <c:v>119</c:v>
                </c:pt>
                <c:pt idx="179">
                  <c:v>122</c:v>
                </c:pt>
                <c:pt idx="180">
                  <c:v>125</c:v>
                </c:pt>
                <c:pt idx="181">
                  <c:v>128</c:v>
                </c:pt>
                <c:pt idx="182">
                  <c:v>131</c:v>
                </c:pt>
                <c:pt idx="183">
                  <c:v>134</c:v>
                </c:pt>
                <c:pt idx="184">
                  <c:v>137</c:v>
                </c:pt>
                <c:pt idx="185">
                  <c:v>140</c:v>
                </c:pt>
                <c:pt idx="186">
                  <c:v>143</c:v>
                </c:pt>
                <c:pt idx="187">
                  <c:v>146</c:v>
                </c:pt>
                <c:pt idx="188">
                  <c:v>150</c:v>
                </c:pt>
                <c:pt idx="189">
                  <c:v>153</c:v>
                </c:pt>
                <c:pt idx="190">
                  <c:v>157</c:v>
                </c:pt>
                <c:pt idx="191">
                  <c:v>160</c:v>
                </c:pt>
                <c:pt idx="192">
                  <c:v>164</c:v>
                </c:pt>
                <c:pt idx="193">
                  <c:v>167</c:v>
                </c:pt>
                <c:pt idx="194">
                  <c:v>171</c:v>
                </c:pt>
                <c:pt idx="195">
                  <c:v>174</c:v>
                </c:pt>
                <c:pt idx="196">
                  <c:v>177</c:v>
                </c:pt>
                <c:pt idx="197">
                  <c:v>180</c:v>
                </c:pt>
                <c:pt idx="198">
                  <c:v>183</c:v>
                </c:pt>
                <c:pt idx="199">
                  <c:v>185</c:v>
                </c:pt>
                <c:pt idx="200">
                  <c:v>188</c:v>
                </c:pt>
                <c:pt idx="201">
                  <c:v>190</c:v>
                </c:pt>
                <c:pt idx="202">
                  <c:v>191</c:v>
                </c:pt>
                <c:pt idx="203">
                  <c:v>193</c:v>
                </c:pt>
                <c:pt idx="204">
                  <c:v>194</c:v>
                </c:pt>
                <c:pt idx="205">
                  <c:v>195</c:v>
                </c:pt>
                <c:pt idx="206">
                  <c:v>196</c:v>
                </c:pt>
                <c:pt idx="207">
                  <c:v>196</c:v>
                </c:pt>
                <c:pt idx="208">
                  <c:v>197</c:v>
                </c:pt>
                <c:pt idx="209">
                  <c:v>196</c:v>
                </c:pt>
                <c:pt idx="210">
                  <c:v>196</c:v>
                </c:pt>
                <c:pt idx="211">
                  <c:v>195</c:v>
                </c:pt>
                <c:pt idx="212">
                  <c:v>194</c:v>
                </c:pt>
                <c:pt idx="213">
                  <c:v>193</c:v>
                </c:pt>
                <c:pt idx="214">
                  <c:v>191</c:v>
                </c:pt>
                <c:pt idx="215">
                  <c:v>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B7A-4240-A415-2E2843081A47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B7A-4240-A415-2E2843081A47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B7A-4240-A415-2E2843081A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8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234</c:v>
                </c:pt>
                <c:pt idx="1">
                  <c:v>162</c:v>
                </c:pt>
                <c:pt idx="2">
                  <c:v>280</c:v>
                </c:pt>
                <c:pt idx="3">
                  <c:v>260</c:v>
                </c:pt>
                <c:pt idx="4">
                  <c:v>143</c:v>
                </c:pt>
                <c:pt idx="5">
                  <c:v>42</c:v>
                </c:pt>
                <c:pt idx="6">
                  <c:v>245</c:v>
                </c:pt>
                <c:pt idx="7">
                  <c:v>302</c:v>
                </c:pt>
                <c:pt idx="8">
                  <c:v>301</c:v>
                </c:pt>
                <c:pt idx="9">
                  <c:v>294</c:v>
                </c:pt>
                <c:pt idx="10">
                  <c:v>284</c:v>
                </c:pt>
                <c:pt idx="11">
                  <c:v>179</c:v>
                </c:pt>
                <c:pt idx="12">
                  <c:v>86</c:v>
                </c:pt>
                <c:pt idx="13">
                  <c:v>300</c:v>
                </c:pt>
                <c:pt idx="14">
                  <c:v>437</c:v>
                </c:pt>
                <c:pt idx="15">
                  <c:v>476</c:v>
                </c:pt>
                <c:pt idx="16">
                  <c:v>377</c:v>
                </c:pt>
                <c:pt idx="17">
                  <c:v>378</c:v>
                </c:pt>
                <c:pt idx="18">
                  <c:v>233</c:v>
                </c:pt>
                <c:pt idx="19">
                  <c:v>139</c:v>
                </c:pt>
                <c:pt idx="20">
                  <c:v>426</c:v>
                </c:pt>
                <c:pt idx="21">
                  <c:v>538</c:v>
                </c:pt>
                <c:pt idx="22">
                  <c:v>667</c:v>
                </c:pt>
                <c:pt idx="23">
                  <c:v>46</c:v>
                </c:pt>
                <c:pt idx="24">
                  <c:v>165</c:v>
                </c:pt>
                <c:pt idx="25">
                  <c:v>174</c:v>
                </c:pt>
                <c:pt idx="26">
                  <c:v>123</c:v>
                </c:pt>
                <c:pt idx="27">
                  <c:v>535</c:v>
                </c:pt>
                <c:pt idx="28">
                  <c:v>649</c:v>
                </c:pt>
                <c:pt idx="29">
                  <c:v>661</c:v>
                </c:pt>
                <c:pt idx="30">
                  <c:v>461</c:v>
                </c:pt>
                <c:pt idx="31">
                  <c:v>24</c:v>
                </c:pt>
                <c:pt idx="32">
                  <c:v>456</c:v>
                </c:pt>
                <c:pt idx="33">
                  <c:v>376</c:v>
                </c:pt>
                <c:pt idx="34">
                  <c:v>635</c:v>
                </c:pt>
                <c:pt idx="35">
                  <c:v>630</c:v>
                </c:pt>
                <c:pt idx="36">
                  <c:v>755</c:v>
                </c:pt>
                <c:pt idx="37">
                  <c:v>721</c:v>
                </c:pt>
                <c:pt idx="38">
                  <c:v>658</c:v>
                </c:pt>
                <c:pt idx="39">
                  <c:v>456</c:v>
                </c:pt>
                <c:pt idx="40">
                  <c:v>294</c:v>
                </c:pt>
                <c:pt idx="41">
                  <c:v>597</c:v>
                </c:pt>
                <c:pt idx="42">
                  <c:v>586</c:v>
                </c:pt>
                <c:pt idx="43">
                  <c:v>642</c:v>
                </c:pt>
                <c:pt idx="44">
                  <c:v>498</c:v>
                </c:pt>
                <c:pt idx="45">
                  <c:v>467</c:v>
                </c:pt>
                <c:pt idx="46">
                  <c:v>211</c:v>
                </c:pt>
                <c:pt idx="47">
                  <c:v>161</c:v>
                </c:pt>
                <c:pt idx="48">
                  <c:v>539</c:v>
                </c:pt>
                <c:pt idx="49">
                  <c:v>478</c:v>
                </c:pt>
                <c:pt idx="50">
                  <c:v>411</c:v>
                </c:pt>
                <c:pt idx="51">
                  <c:v>413</c:v>
                </c:pt>
                <c:pt idx="52">
                  <c:v>333</c:v>
                </c:pt>
                <c:pt idx="53">
                  <c:v>201</c:v>
                </c:pt>
                <c:pt idx="54">
                  <c:v>121</c:v>
                </c:pt>
                <c:pt idx="55">
                  <c:v>443</c:v>
                </c:pt>
                <c:pt idx="56">
                  <c:v>497</c:v>
                </c:pt>
                <c:pt idx="57">
                  <c:v>420</c:v>
                </c:pt>
                <c:pt idx="58">
                  <c:v>413</c:v>
                </c:pt>
                <c:pt idx="59">
                  <c:v>393</c:v>
                </c:pt>
                <c:pt idx="60">
                  <c:v>167</c:v>
                </c:pt>
                <c:pt idx="61">
                  <c:v>127</c:v>
                </c:pt>
                <c:pt idx="62">
                  <c:v>451</c:v>
                </c:pt>
                <c:pt idx="63">
                  <c:v>446</c:v>
                </c:pt>
                <c:pt idx="64">
                  <c:v>451</c:v>
                </c:pt>
                <c:pt idx="65">
                  <c:v>448</c:v>
                </c:pt>
                <c:pt idx="66">
                  <c:v>440</c:v>
                </c:pt>
                <c:pt idx="67">
                  <c:v>188</c:v>
                </c:pt>
                <c:pt idx="68">
                  <c:v>129</c:v>
                </c:pt>
                <c:pt idx="69">
                  <c:v>514</c:v>
                </c:pt>
                <c:pt idx="70">
                  <c:v>488</c:v>
                </c:pt>
                <c:pt idx="71">
                  <c:v>488</c:v>
                </c:pt>
                <c:pt idx="72">
                  <c:v>487</c:v>
                </c:pt>
                <c:pt idx="73">
                  <c:v>508</c:v>
                </c:pt>
                <c:pt idx="74">
                  <c:v>239</c:v>
                </c:pt>
                <c:pt idx="75">
                  <c:v>151</c:v>
                </c:pt>
                <c:pt idx="76">
                  <c:v>523</c:v>
                </c:pt>
                <c:pt idx="77">
                  <c:v>622</c:v>
                </c:pt>
                <c:pt idx="78">
                  <c:v>648</c:v>
                </c:pt>
                <c:pt idx="79">
                  <c:v>568</c:v>
                </c:pt>
                <c:pt idx="80">
                  <c:v>590</c:v>
                </c:pt>
                <c:pt idx="81">
                  <c:v>324</c:v>
                </c:pt>
                <c:pt idx="82">
                  <c:v>175</c:v>
                </c:pt>
                <c:pt idx="83">
                  <c:v>724</c:v>
                </c:pt>
                <c:pt idx="84">
                  <c:v>781</c:v>
                </c:pt>
                <c:pt idx="85">
                  <c:v>825</c:v>
                </c:pt>
                <c:pt idx="86">
                  <c:v>854</c:v>
                </c:pt>
                <c:pt idx="87">
                  <c:v>825</c:v>
                </c:pt>
                <c:pt idx="88">
                  <c:v>402</c:v>
                </c:pt>
                <c:pt idx="89">
                  <c:v>255</c:v>
                </c:pt>
                <c:pt idx="90">
                  <c:v>761</c:v>
                </c:pt>
                <c:pt idx="91">
                  <c:v>862</c:v>
                </c:pt>
                <c:pt idx="92">
                  <c:v>868</c:v>
                </c:pt>
                <c:pt idx="93">
                  <c:v>828</c:v>
                </c:pt>
                <c:pt idx="94">
                  <c:v>747</c:v>
                </c:pt>
                <c:pt idx="95">
                  <c:v>444</c:v>
                </c:pt>
                <c:pt idx="96">
                  <c:v>246</c:v>
                </c:pt>
                <c:pt idx="97">
                  <c:v>689</c:v>
                </c:pt>
                <c:pt idx="98">
                  <c:v>768</c:v>
                </c:pt>
                <c:pt idx="99">
                  <c:v>776</c:v>
                </c:pt>
                <c:pt idx="100">
                  <c:v>723</c:v>
                </c:pt>
                <c:pt idx="101">
                  <c:v>981</c:v>
                </c:pt>
                <c:pt idx="102">
                  <c:v>391</c:v>
                </c:pt>
                <c:pt idx="103">
                  <c:v>199</c:v>
                </c:pt>
                <c:pt idx="104">
                  <c:v>709</c:v>
                </c:pt>
                <c:pt idx="105">
                  <c:v>751</c:v>
                </c:pt>
                <c:pt idx="106">
                  <c:v>648</c:v>
                </c:pt>
                <c:pt idx="107">
                  <c:v>455</c:v>
                </c:pt>
                <c:pt idx="108">
                  <c:v>253</c:v>
                </c:pt>
                <c:pt idx="109">
                  <c:v>475</c:v>
                </c:pt>
                <c:pt idx="110">
                  <c:v>114</c:v>
                </c:pt>
                <c:pt idx="111">
                  <c:v>551</c:v>
                </c:pt>
                <c:pt idx="112">
                  <c:v>542</c:v>
                </c:pt>
                <c:pt idx="113">
                  <c:v>474</c:v>
                </c:pt>
                <c:pt idx="114">
                  <c:v>370</c:v>
                </c:pt>
                <c:pt idx="115">
                  <c:v>361</c:v>
                </c:pt>
                <c:pt idx="116">
                  <c:v>167</c:v>
                </c:pt>
                <c:pt idx="117">
                  <c:v>83</c:v>
                </c:pt>
                <c:pt idx="118">
                  <c:v>378</c:v>
                </c:pt>
                <c:pt idx="119">
                  <c:v>380</c:v>
                </c:pt>
                <c:pt idx="120">
                  <c:v>287</c:v>
                </c:pt>
                <c:pt idx="121">
                  <c:v>321</c:v>
                </c:pt>
                <c:pt idx="122">
                  <c:v>127</c:v>
                </c:pt>
                <c:pt idx="123">
                  <c:v>94</c:v>
                </c:pt>
                <c:pt idx="124">
                  <c:v>118</c:v>
                </c:pt>
                <c:pt idx="125">
                  <c:v>32</c:v>
                </c:pt>
                <c:pt idx="126">
                  <c:v>272</c:v>
                </c:pt>
                <c:pt idx="127">
                  <c:v>273</c:v>
                </c:pt>
                <c:pt idx="128">
                  <c:v>274</c:v>
                </c:pt>
                <c:pt idx="129">
                  <c:v>198</c:v>
                </c:pt>
                <c:pt idx="130">
                  <c:v>50</c:v>
                </c:pt>
                <c:pt idx="131">
                  <c:v>48</c:v>
                </c:pt>
                <c:pt idx="132">
                  <c:v>214</c:v>
                </c:pt>
                <c:pt idx="133">
                  <c:v>170</c:v>
                </c:pt>
                <c:pt idx="134">
                  <c:v>108</c:v>
                </c:pt>
                <c:pt idx="135">
                  <c:v>143</c:v>
                </c:pt>
                <c:pt idx="136">
                  <c:v>115</c:v>
                </c:pt>
                <c:pt idx="137">
                  <c:v>25</c:v>
                </c:pt>
                <c:pt idx="138">
                  <c:v>35</c:v>
                </c:pt>
                <c:pt idx="139">
                  <c:v>148</c:v>
                </c:pt>
                <c:pt idx="140">
                  <c:v>133</c:v>
                </c:pt>
                <c:pt idx="141">
                  <c:v>106</c:v>
                </c:pt>
                <c:pt idx="142">
                  <c:v>89</c:v>
                </c:pt>
                <c:pt idx="143">
                  <c:v>98</c:v>
                </c:pt>
                <c:pt idx="144">
                  <c:v>32</c:v>
                </c:pt>
                <c:pt idx="145">
                  <c:v>28</c:v>
                </c:pt>
                <c:pt idx="146">
                  <c:v>117</c:v>
                </c:pt>
                <c:pt idx="147">
                  <c:v>93</c:v>
                </c:pt>
                <c:pt idx="148">
                  <c:v>69</c:v>
                </c:pt>
                <c:pt idx="149">
                  <c:v>77</c:v>
                </c:pt>
                <c:pt idx="150">
                  <c:v>79</c:v>
                </c:pt>
                <c:pt idx="151">
                  <c:v>4</c:v>
                </c:pt>
                <c:pt idx="152">
                  <c:v>30</c:v>
                </c:pt>
                <c:pt idx="153">
                  <c:v>111</c:v>
                </c:pt>
                <c:pt idx="154">
                  <c:v>78</c:v>
                </c:pt>
                <c:pt idx="155">
                  <c:v>56</c:v>
                </c:pt>
                <c:pt idx="156">
                  <c:v>65</c:v>
                </c:pt>
                <c:pt idx="157">
                  <c:v>55</c:v>
                </c:pt>
                <c:pt idx="158">
                  <c:v>11</c:v>
                </c:pt>
                <c:pt idx="159">
                  <c:v>15</c:v>
                </c:pt>
                <c:pt idx="160">
                  <c:v>69</c:v>
                </c:pt>
                <c:pt idx="161">
                  <c:v>72</c:v>
                </c:pt>
                <c:pt idx="162">
                  <c:v>43</c:v>
                </c:pt>
                <c:pt idx="163">
                  <c:v>34</c:v>
                </c:pt>
                <c:pt idx="164">
                  <c:v>50</c:v>
                </c:pt>
                <c:pt idx="165">
                  <c:v>12</c:v>
                </c:pt>
                <c:pt idx="166">
                  <c:v>12</c:v>
                </c:pt>
                <c:pt idx="167">
                  <c:v>60</c:v>
                </c:pt>
                <c:pt idx="168">
                  <c:v>42</c:v>
                </c:pt>
                <c:pt idx="169">
                  <c:v>39</c:v>
                </c:pt>
                <c:pt idx="170">
                  <c:v>47</c:v>
                </c:pt>
                <c:pt idx="171">
                  <c:v>43</c:v>
                </c:pt>
                <c:pt idx="172">
                  <c:v>16</c:v>
                </c:pt>
                <c:pt idx="173">
                  <c:v>12</c:v>
                </c:pt>
                <c:pt idx="174">
                  <c:v>36</c:v>
                </c:pt>
                <c:pt idx="175">
                  <c:v>34</c:v>
                </c:pt>
                <c:pt idx="176">
                  <c:v>22</c:v>
                </c:pt>
                <c:pt idx="177">
                  <c:v>22</c:v>
                </c:pt>
                <c:pt idx="178">
                  <c:v>22</c:v>
                </c:pt>
                <c:pt idx="179">
                  <c:v>11</c:v>
                </c:pt>
                <c:pt idx="180">
                  <c:v>7</c:v>
                </c:pt>
                <c:pt idx="181">
                  <c:v>37</c:v>
                </c:pt>
                <c:pt idx="182">
                  <c:v>38</c:v>
                </c:pt>
                <c:pt idx="183">
                  <c:v>19</c:v>
                </c:pt>
                <c:pt idx="184">
                  <c:v>20</c:v>
                </c:pt>
                <c:pt idx="185">
                  <c:v>27</c:v>
                </c:pt>
                <c:pt idx="186">
                  <c:v>2</c:v>
                </c:pt>
                <c:pt idx="187">
                  <c:v>15</c:v>
                </c:pt>
                <c:pt idx="188">
                  <c:v>16</c:v>
                </c:pt>
                <c:pt idx="189">
                  <c:v>19</c:v>
                </c:pt>
                <c:pt idx="190">
                  <c:v>21</c:v>
                </c:pt>
                <c:pt idx="191">
                  <c:v>23</c:v>
                </c:pt>
                <c:pt idx="192">
                  <c:v>8</c:v>
                </c:pt>
                <c:pt idx="193">
                  <c:v>0</c:v>
                </c:pt>
                <c:pt idx="19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EFF-4CA0-813B-4825C82D03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EFF-4CA0-813B-4825C82D032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232</c:v>
                </c:pt>
                <c:pt idx="122">
                  <c:v>226</c:v>
                </c:pt>
                <c:pt idx="123">
                  <c:v>219</c:v>
                </c:pt>
                <c:pt idx="124">
                  <c:v>213</c:v>
                </c:pt>
                <c:pt idx="125">
                  <c:v>207</c:v>
                </c:pt>
                <c:pt idx="126">
                  <c:v>201</c:v>
                </c:pt>
                <c:pt idx="127">
                  <c:v>196</c:v>
                </c:pt>
                <c:pt idx="128">
                  <c:v>190</c:v>
                </c:pt>
                <c:pt idx="129">
                  <c:v>185</c:v>
                </c:pt>
                <c:pt idx="130">
                  <c:v>179</c:v>
                </c:pt>
                <c:pt idx="131">
                  <c:v>174</c:v>
                </c:pt>
                <c:pt idx="132">
                  <c:v>169</c:v>
                </c:pt>
                <c:pt idx="133">
                  <c:v>164</c:v>
                </c:pt>
                <c:pt idx="134">
                  <c:v>159</c:v>
                </c:pt>
                <c:pt idx="135">
                  <c:v>155</c:v>
                </c:pt>
                <c:pt idx="136">
                  <c:v>150</c:v>
                </c:pt>
                <c:pt idx="137">
                  <c:v>146</c:v>
                </c:pt>
                <c:pt idx="138">
                  <c:v>141</c:v>
                </c:pt>
                <c:pt idx="139">
                  <c:v>137</c:v>
                </c:pt>
                <c:pt idx="140">
                  <c:v>133</c:v>
                </c:pt>
                <c:pt idx="141">
                  <c:v>129</c:v>
                </c:pt>
                <c:pt idx="142">
                  <c:v>125</c:v>
                </c:pt>
                <c:pt idx="143">
                  <c:v>121</c:v>
                </c:pt>
                <c:pt idx="144">
                  <c:v>117</c:v>
                </c:pt>
                <c:pt idx="145">
                  <c:v>113</c:v>
                </c:pt>
                <c:pt idx="146">
                  <c:v>109</c:v>
                </c:pt>
                <c:pt idx="147">
                  <c:v>106</c:v>
                </c:pt>
                <c:pt idx="148">
                  <c:v>102</c:v>
                </c:pt>
                <c:pt idx="149">
                  <c:v>99</c:v>
                </c:pt>
                <c:pt idx="150">
                  <c:v>96</c:v>
                </c:pt>
                <c:pt idx="151">
                  <c:v>92</c:v>
                </c:pt>
                <c:pt idx="152">
                  <c:v>89</c:v>
                </c:pt>
                <c:pt idx="153">
                  <c:v>86</c:v>
                </c:pt>
                <c:pt idx="154">
                  <c:v>83</c:v>
                </c:pt>
                <c:pt idx="155">
                  <c:v>80</c:v>
                </c:pt>
                <c:pt idx="156">
                  <c:v>77</c:v>
                </c:pt>
                <c:pt idx="157">
                  <c:v>74</c:v>
                </c:pt>
                <c:pt idx="158">
                  <c:v>71</c:v>
                </c:pt>
                <c:pt idx="159">
                  <c:v>69</c:v>
                </c:pt>
                <c:pt idx="160">
                  <c:v>66</c:v>
                </c:pt>
                <c:pt idx="161">
                  <c:v>64</c:v>
                </c:pt>
                <c:pt idx="162">
                  <c:v>61</c:v>
                </c:pt>
                <c:pt idx="163">
                  <c:v>59</c:v>
                </c:pt>
                <c:pt idx="164">
                  <c:v>56</c:v>
                </c:pt>
                <c:pt idx="165">
                  <c:v>54</c:v>
                </c:pt>
                <c:pt idx="166">
                  <c:v>52</c:v>
                </c:pt>
                <c:pt idx="167">
                  <c:v>50</c:v>
                </c:pt>
                <c:pt idx="168">
                  <c:v>48</c:v>
                </c:pt>
                <c:pt idx="169">
                  <c:v>46</c:v>
                </c:pt>
                <c:pt idx="170">
                  <c:v>44</c:v>
                </c:pt>
                <c:pt idx="171">
                  <c:v>42</c:v>
                </c:pt>
                <c:pt idx="172">
                  <c:v>40</c:v>
                </c:pt>
                <c:pt idx="173">
                  <c:v>38</c:v>
                </c:pt>
                <c:pt idx="174">
                  <c:v>36</c:v>
                </c:pt>
                <c:pt idx="175">
                  <c:v>34</c:v>
                </c:pt>
                <c:pt idx="176">
                  <c:v>32</c:v>
                </c:pt>
                <c:pt idx="177">
                  <c:v>31</c:v>
                </c:pt>
                <c:pt idx="178">
                  <c:v>29</c:v>
                </c:pt>
                <c:pt idx="179">
                  <c:v>28</c:v>
                </c:pt>
                <c:pt idx="180">
                  <c:v>26</c:v>
                </c:pt>
                <c:pt idx="181">
                  <c:v>25</c:v>
                </c:pt>
                <c:pt idx="182">
                  <c:v>23</c:v>
                </c:pt>
                <c:pt idx="183">
                  <c:v>22</c:v>
                </c:pt>
                <c:pt idx="184">
                  <c:v>21</c:v>
                </c:pt>
                <c:pt idx="185">
                  <c:v>19</c:v>
                </c:pt>
                <c:pt idx="186">
                  <c:v>18</c:v>
                </c:pt>
                <c:pt idx="187">
                  <c:v>17</c:v>
                </c:pt>
                <c:pt idx="188">
                  <c:v>16</c:v>
                </c:pt>
                <c:pt idx="189">
                  <c:v>15</c:v>
                </c:pt>
                <c:pt idx="190">
                  <c:v>14</c:v>
                </c:pt>
                <c:pt idx="191">
                  <c:v>14</c:v>
                </c:pt>
                <c:pt idx="192">
                  <c:v>13</c:v>
                </c:pt>
                <c:pt idx="193">
                  <c:v>12</c:v>
                </c:pt>
                <c:pt idx="194">
                  <c:v>11</c:v>
                </c:pt>
                <c:pt idx="195">
                  <c:v>11</c:v>
                </c:pt>
                <c:pt idx="196">
                  <c:v>10</c:v>
                </c:pt>
                <c:pt idx="197">
                  <c:v>9</c:v>
                </c:pt>
                <c:pt idx="198">
                  <c:v>9</c:v>
                </c:pt>
                <c:pt idx="199">
                  <c:v>8</c:v>
                </c:pt>
                <c:pt idx="200">
                  <c:v>8</c:v>
                </c:pt>
                <c:pt idx="201">
                  <c:v>7</c:v>
                </c:pt>
                <c:pt idx="202">
                  <c:v>7</c:v>
                </c:pt>
                <c:pt idx="203">
                  <c:v>6</c:v>
                </c:pt>
                <c:pt idx="204">
                  <c:v>6</c:v>
                </c:pt>
                <c:pt idx="205">
                  <c:v>6</c:v>
                </c:pt>
                <c:pt idx="206">
                  <c:v>5</c:v>
                </c:pt>
                <c:pt idx="207">
                  <c:v>5</c:v>
                </c:pt>
                <c:pt idx="208">
                  <c:v>4</c:v>
                </c:pt>
                <c:pt idx="209">
                  <c:v>4</c:v>
                </c:pt>
                <c:pt idx="210">
                  <c:v>4</c:v>
                </c:pt>
                <c:pt idx="211">
                  <c:v>4</c:v>
                </c:pt>
                <c:pt idx="212">
                  <c:v>3</c:v>
                </c:pt>
                <c:pt idx="213">
                  <c:v>3</c:v>
                </c:pt>
                <c:pt idx="214">
                  <c:v>3</c:v>
                </c:pt>
                <c:pt idx="215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EFF-4CA0-813B-4825C82D032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232</c:v>
                </c:pt>
                <c:pt idx="122">
                  <c:v>226</c:v>
                </c:pt>
                <c:pt idx="123">
                  <c:v>219</c:v>
                </c:pt>
                <c:pt idx="124">
                  <c:v>213</c:v>
                </c:pt>
                <c:pt idx="125">
                  <c:v>207</c:v>
                </c:pt>
                <c:pt idx="126">
                  <c:v>201</c:v>
                </c:pt>
                <c:pt idx="127">
                  <c:v>196</c:v>
                </c:pt>
                <c:pt idx="128">
                  <c:v>190</c:v>
                </c:pt>
                <c:pt idx="129">
                  <c:v>185</c:v>
                </c:pt>
                <c:pt idx="130">
                  <c:v>179</c:v>
                </c:pt>
                <c:pt idx="131">
                  <c:v>174</c:v>
                </c:pt>
                <c:pt idx="132">
                  <c:v>169</c:v>
                </c:pt>
                <c:pt idx="133">
                  <c:v>164</c:v>
                </c:pt>
                <c:pt idx="134">
                  <c:v>159</c:v>
                </c:pt>
                <c:pt idx="135">
                  <c:v>155</c:v>
                </c:pt>
                <c:pt idx="136">
                  <c:v>150</c:v>
                </c:pt>
                <c:pt idx="137">
                  <c:v>146</c:v>
                </c:pt>
                <c:pt idx="138">
                  <c:v>141</c:v>
                </c:pt>
                <c:pt idx="139">
                  <c:v>137</c:v>
                </c:pt>
                <c:pt idx="140">
                  <c:v>133</c:v>
                </c:pt>
                <c:pt idx="141">
                  <c:v>129</c:v>
                </c:pt>
                <c:pt idx="142">
                  <c:v>125</c:v>
                </c:pt>
                <c:pt idx="143">
                  <c:v>121</c:v>
                </c:pt>
                <c:pt idx="144">
                  <c:v>117</c:v>
                </c:pt>
                <c:pt idx="145">
                  <c:v>113</c:v>
                </c:pt>
                <c:pt idx="146">
                  <c:v>109</c:v>
                </c:pt>
                <c:pt idx="147">
                  <c:v>106</c:v>
                </c:pt>
                <c:pt idx="148">
                  <c:v>102</c:v>
                </c:pt>
                <c:pt idx="149">
                  <c:v>99</c:v>
                </c:pt>
                <c:pt idx="150">
                  <c:v>96</c:v>
                </c:pt>
                <c:pt idx="151">
                  <c:v>92</c:v>
                </c:pt>
                <c:pt idx="152">
                  <c:v>89</c:v>
                </c:pt>
                <c:pt idx="153">
                  <c:v>86</c:v>
                </c:pt>
                <c:pt idx="154">
                  <c:v>83</c:v>
                </c:pt>
                <c:pt idx="155">
                  <c:v>80</c:v>
                </c:pt>
                <c:pt idx="156">
                  <c:v>77</c:v>
                </c:pt>
                <c:pt idx="157">
                  <c:v>74</c:v>
                </c:pt>
                <c:pt idx="158">
                  <c:v>71</c:v>
                </c:pt>
                <c:pt idx="159">
                  <c:v>69</c:v>
                </c:pt>
                <c:pt idx="160">
                  <c:v>66</c:v>
                </c:pt>
                <c:pt idx="161">
                  <c:v>64</c:v>
                </c:pt>
                <c:pt idx="162">
                  <c:v>61</c:v>
                </c:pt>
                <c:pt idx="163">
                  <c:v>59</c:v>
                </c:pt>
                <c:pt idx="164">
                  <c:v>56</c:v>
                </c:pt>
                <c:pt idx="165">
                  <c:v>54</c:v>
                </c:pt>
                <c:pt idx="166">
                  <c:v>52</c:v>
                </c:pt>
                <c:pt idx="167">
                  <c:v>50</c:v>
                </c:pt>
                <c:pt idx="168">
                  <c:v>49</c:v>
                </c:pt>
                <c:pt idx="169">
                  <c:v>48</c:v>
                </c:pt>
                <c:pt idx="170">
                  <c:v>48</c:v>
                </c:pt>
                <c:pt idx="171">
                  <c:v>48</c:v>
                </c:pt>
                <c:pt idx="172">
                  <c:v>48</c:v>
                </c:pt>
                <c:pt idx="173">
                  <c:v>48</c:v>
                </c:pt>
                <c:pt idx="174">
                  <c:v>47</c:v>
                </c:pt>
                <c:pt idx="175">
                  <c:v>48</c:v>
                </c:pt>
                <c:pt idx="176">
                  <c:v>49</c:v>
                </c:pt>
                <c:pt idx="177">
                  <c:v>50</c:v>
                </c:pt>
                <c:pt idx="178">
                  <c:v>52</c:v>
                </c:pt>
                <c:pt idx="179">
                  <c:v>53</c:v>
                </c:pt>
                <c:pt idx="180">
                  <c:v>54</c:v>
                </c:pt>
                <c:pt idx="181">
                  <c:v>56</c:v>
                </c:pt>
                <c:pt idx="182">
                  <c:v>57</c:v>
                </c:pt>
                <c:pt idx="183">
                  <c:v>58</c:v>
                </c:pt>
                <c:pt idx="184">
                  <c:v>60</c:v>
                </c:pt>
                <c:pt idx="185">
                  <c:v>61</c:v>
                </c:pt>
                <c:pt idx="186">
                  <c:v>62</c:v>
                </c:pt>
                <c:pt idx="187">
                  <c:v>64</c:v>
                </c:pt>
                <c:pt idx="188">
                  <c:v>65</c:v>
                </c:pt>
                <c:pt idx="189">
                  <c:v>67</c:v>
                </c:pt>
                <c:pt idx="190">
                  <c:v>68</c:v>
                </c:pt>
                <c:pt idx="191">
                  <c:v>70</c:v>
                </c:pt>
                <c:pt idx="192">
                  <c:v>71</c:v>
                </c:pt>
                <c:pt idx="193">
                  <c:v>73</c:v>
                </c:pt>
                <c:pt idx="194">
                  <c:v>74</c:v>
                </c:pt>
                <c:pt idx="195">
                  <c:v>76</c:v>
                </c:pt>
                <c:pt idx="196">
                  <c:v>77</c:v>
                </c:pt>
                <c:pt idx="197">
                  <c:v>78</c:v>
                </c:pt>
                <c:pt idx="198">
                  <c:v>80</c:v>
                </c:pt>
                <c:pt idx="199">
                  <c:v>81</c:v>
                </c:pt>
                <c:pt idx="200">
                  <c:v>82</c:v>
                </c:pt>
                <c:pt idx="201">
                  <c:v>83</c:v>
                </c:pt>
                <c:pt idx="202">
                  <c:v>83</c:v>
                </c:pt>
                <c:pt idx="203">
                  <c:v>84</c:v>
                </c:pt>
                <c:pt idx="204">
                  <c:v>85</c:v>
                </c:pt>
                <c:pt idx="205">
                  <c:v>85</c:v>
                </c:pt>
                <c:pt idx="206">
                  <c:v>85</c:v>
                </c:pt>
                <c:pt idx="207">
                  <c:v>86</c:v>
                </c:pt>
                <c:pt idx="208">
                  <c:v>86</c:v>
                </c:pt>
                <c:pt idx="209">
                  <c:v>85</c:v>
                </c:pt>
                <c:pt idx="210">
                  <c:v>85</c:v>
                </c:pt>
                <c:pt idx="211">
                  <c:v>85</c:v>
                </c:pt>
                <c:pt idx="212">
                  <c:v>84</c:v>
                </c:pt>
                <c:pt idx="213">
                  <c:v>84</c:v>
                </c:pt>
                <c:pt idx="214">
                  <c:v>83</c:v>
                </c:pt>
                <c:pt idx="215">
                  <c:v>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EFF-4CA0-813B-4825C82D032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EFF-4CA0-813B-4825C82D0322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EFF-4CA0-813B-4825C82D03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4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239</c:v>
                </c:pt>
                <c:pt idx="1">
                  <c:v>236</c:v>
                </c:pt>
                <c:pt idx="2">
                  <c:v>214</c:v>
                </c:pt>
                <c:pt idx="3">
                  <c:v>225</c:v>
                </c:pt>
                <c:pt idx="4">
                  <c:v>223</c:v>
                </c:pt>
                <c:pt idx="5">
                  <c:v>91</c:v>
                </c:pt>
                <c:pt idx="6">
                  <c:v>164</c:v>
                </c:pt>
                <c:pt idx="7">
                  <c:v>362</c:v>
                </c:pt>
                <c:pt idx="8">
                  <c:v>349</c:v>
                </c:pt>
                <c:pt idx="9">
                  <c:v>383</c:v>
                </c:pt>
                <c:pt idx="10">
                  <c:v>298</c:v>
                </c:pt>
                <c:pt idx="11">
                  <c:v>213</c:v>
                </c:pt>
                <c:pt idx="12">
                  <c:v>141</c:v>
                </c:pt>
                <c:pt idx="13">
                  <c:v>354</c:v>
                </c:pt>
                <c:pt idx="14">
                  <c:v>377</c:v>
                </c:pt>
                <c:pt idx="15">
                  <c:v>472</c:v>
                </c:pt>
                <c:pt idx="16">
                  <c:v>439</c:v>
                </c:pt>
                <c:pt idx="17">
                  <c:v>370</c:v>
                </c:pt>
                <c:pt idx="18">
                  <c:v>375</c:v>
                </c:pt>
                <c:pt idx="19">
                  <c:v>287</c:v>
                </c:pt>
                <c:pt idx="20">
                  <c:v>471</c:v>
                </c:pt>
                <c:pt idx="21">
                  <c:v>654</c:v>
                </c:pt>
                <c:pt idx="22">
                  <c:v>992</c:v>
                </c:pt>
                <c:pt idx="23">
                  <c:v>260</c:v>
                </c:pt>
                <c:pt idx="24">
                  <c:v>135</c:v>
                </c:pt>
                <c:pt idx="25">
                  <c:v>228</c:v>
                </c:pt>
                <c:pt idx="26">
                  <c:v>314</c:v>
                </c:pt>
                <c:pt idx="27">
                  <c:v>979</c:v>
                </c:pt>
                <c:pt idx="28">
                  <c:v>966</c:v>
                </c:pt>
                <c:pt idx="29">
                  <c:v>1165</c:v>
                </c:pt>
                <c:pt idx="30">
                  <c:v>788</c:v>
                </c:pt>
                <c:pt idx="31">
                  <c:v>439</c:v>
                </c:pt>
                <c:pt idx="32">
                  <c:v>388</c:v>
                </c:pt>
                <c:pt idx="33">
                  <c:v>639</c:v>
                </c:pt>
                <c:pt idx="34">
                  <c:v>1063</c:v>
                </c:pt>
                <c:pt idx="35">
                  <c:v>958</c:v>
                </c:pt>
                <c:pt idx="36">
                  <c:v>1546</c:v>
                </c:pt>
                <c:pt idx="37">
                  <c:v>1099</c:v>
                </c:pt>
                <c:pt idx="38">
                  <c:v>830</c:v>
                </c:pt>
                <c:pt idx="39">
                  <c:v>751</c:v>
                </c:pt>
                <c:pt idx="40">
                  <c:v>714</c:v>
                </c:pt>
                <c:pt idx="41">
                  <c:v>1016</c:v>
                </c:pt>
                <c:pt idx="42">
                  <c:v>581</c:v>
                </c:pt>
                <c:pt idx="43">
                  <c:v>879</c:v>
                </c:pt>
                <c:pt idx="44">
                  <c:v>844</c:v>
                </c:pt>
                <c:pt idx="45">
                  <c:v>658</c:v>
                </c:pt>
                <c:pt idx="46">
                  <c:v>582</c:v>
                </c:pt>
                <c:pt idx="47">
                  <c:v>351</c:v>
                </c:pt>
                <c:pt idx="48">
                  <c:v>891</c:v>
                </c:pt>
                <c:pt idx="49">
                  <c:v>883</c:v>
                </c:pt>
                <c:pt idx="50">
                  <c:v>889</c:v>
                </c:pt>
                <c:pt idx="51">
                  <c:v>803</c:v>
                </c:pt>
                <c:pt idx="52">
                  <c:v>780</c:v>
                </c:pt>
                <c:pt idx="53">
                  <c:v>704</c:v>
                </c:pt>
                <c:pt idx="54">
                  <c:v>384</c:v>
                </c:pt>
                <c:pt idx="55">
                  <c:v>638</c:v>
                </c:pt>
                <c:pt idx="56">
                  <c:v>956</c:v>
                </c:pt>
                <c:pt idx="57">
                  <c:v>820</c:v>
                </c:pt>
                <c:pt idx="58">
                  <c:v>1013</c:v>
                </c:pt>
                <c:pt idx="59">
                  <c:v>793</c:v>
                </c:pt>
                <c:pt idx="60">
                  <c:v>611</c:v>
                </c:pt>
                <c:pt idx="61">
                  <c:v>535</c:v>
                </c:pt>
                <c:pt idx="62">
                  <c:v>517</c:v>
                </c:pt>
                <c:pt idx="63">
                  <c:v>882</c:v>
                </c:pt>
                <c:pt idx="64">
                  <c:v>1284</c:v>
                </c:pt>
                <c:pt idx="65">
                  <c:v>928</c:v>
                </c:pt>
                <c:pt idx="66">
                  <c:v>814</c:v>
                </c:pt>
                <c:pt idx="67">
                  <c:v>552</c:v>
                </c:pt>
                <c:pt idx="68">
                  <c:v>506</c:v>
                </c:pt>
                <c:pt idx="69">
                  <c:v>713</c:v>
                </c:pt>
                <c:pt idx="70">
                  <c:v>998</c:v>
                </c:pt>
                <c:pt idx="71">
                  <c:v>1038</c:v>
                </c:pt>
                <c:pt idx="72">
                  <c:v>980</c:v>
                </c:pt>
                <c:pt idx="73">
                  <c:v>680</c:v>
                </c:pt>
                <c:pt idx="74">
                  <c:v>682</c:v>
                </c:pt>
                <c:pt idx="75">
                  <c:v>407</c:v>
                </c:pt>
                <c:pt idx="76">
                  <c:v>866</c:v>
                </c:pt>
                <c:pt idx="77">
                  <c:v>982</c:v>
                </c:pt>
                <c:pt idx="78">
                  <c:v>778</c:v>
                </c:pt>
                <c:pt idx="79">
                  <c:v>1170</c:v>
                </c:pt>
                <c:pt idx="80">
                  <c:v>863</c:v>
                </c:pt>
                <c:pt idx="81">
                  <c:v>690</c:v>
                </c:pt>
                <c:pt idx="82">
                  <c:v>436</c:v>
                </c:pt>
                <c:pt idx="83">
                  <c:v>1045</c:v>
                </c:pt>
                <c:pt idx="84">
                  <c:v>928</c:v>
                </c:pt>
                <c:pt idx="85">
                  <c:v>1161</c:v>
                </c:pt>
                <c:pt idx="86">
                  <c:v>827</c:v>
                </c:pt>
                <c:pt idx="87">
                  <c:v>1014</c:v>
                </c:pt>
                <c:pt idx="88">
                  <c:v>496</c:v>
                </c:pt>
                <c:pt idx="89">
                  <c:v>645</c:v>
                </c:pt>
                <c:pt idx="90">
                  <c:v>763</c:v>
                </c:pt>
                <c:pt idx="91">
                  <c:v>952</c:v>
                </c:pt>
                <c:pt idx="92">
                  <c:v>845</c:v>
                </c:pt>
                <c:pt idx="93">
                  <c:v>805</c:v>
                </c:pt>
                <c:pt idx="94">
                  <c:v>763</c:v>
                </c:pt>
                <c:pt idx="95">
                  <c:v>593</c:v>
                </c:pt>
                <c:pt idx="96">
                  <c:v>377</c:v>
                </c:pt>
                <c:pt idx="97">
                  <c:v>513</c:v>
                </c:pt>
                <c:pt idx="98">
                  <c:v>675</c:v>
                </c:pt>
                <c:pt idx="99">
                  <c:v>682</c:v>
                </c:pt>
                <c:pt idx="100">
                  <c:v>524</c:v>
                </c:pt>
                <c:pt idx="101">
                  <c:v>783</c:v>
                </c:pt>
                <c:pt idx="102">
                  <c:v>278</c:v>
                </c:pt>
                <c:pt idx="103">
                  <c:v>211</c:v>
                </c:pt>
                <c:pt idx="104">
                  <c:v>533</c:v>
                </c:pt>
                <c:pt idx="105">
                  <c:v>497</c:v>
                </c:pt>
                <c:pt idx="106">
                  <c:v>448</c:v>
                </c:pt>
                <c:pt idx="107">
                  <c:v>381</c:v>
                </c:pt>
                <c:pt idx="108">
                  <c:v>346</c:v>
                </c:pt>
                <c:pt idx="109">
                  <c:v>230</c:v>
                </c:pt>
                <c:pt idx="110">
                  <c:v>139</c:v>
                </c:pt>
                <c:pt idx="111">
                  <c:v>313</c:v>
                </c:pt>
                <c:pt idx="112">
                  <c:v>365</c:v>
                </c:pt>
                <c:pt idx="113">
                  <c:v>269</c:v>
                </c:pt>
                <c:pt idx="114">
                  <c:v>232</c:v>
                </c:pt>
                <c:pt idx="115">
                  <c:v>241</c:v>
                </c:pt>
                <c:pt idx="116">
                  <c:v>140</c:v>
                </c:pt>
                <c:pt idx="117">
                  <c:v>83</c:v>
                </c:pt>
                <c:pt idx="118">
                  <c:v>253</c:v>
                </c:pt>
                <c:pt idx="119">
                  <c:v>221</c:v>
                </c:pt>
                <c:pt idx="120">
                  <c:v>172</c:v>
                </c:pt>
                <c:pt idx="121">
                  <c:v>147</c:v>
                </c:pt>
                <c:pt idx="122">
                  <c:v>94</c:v>
                </c:pt>
                <c:pt idx="123">
                  <c:v>76</c:v>
                </c:pt>
                <c:pt idx="124">
                  <c:v>64</c:v>
                </c:pt>
                <c:pt idx="125">
                  <c:v>77</c:v>
                </c:pt>
                <c:pt idx="126">
                  <c:v>130</c:v>
                </c:pt>
                <c:pt idx="127">
                  <c:v>137</c:v>
                </c:pt>
                <c:pt idx="128">
                  <c:v>129</c:v>
                </c:pt>
                <c:pt idx="129">
                  <c:v>80</c:v>
                </c:pt>
                <c:pt idx="130">
                  <c:v>58</c:v>
                </c:pt>
                <c:pt idx="131">
                  <c:v>59</c:v>
                </c:pt>
                <c:pt idx="132">
                  <c:v>48</c:v>
                </c:pt>
                <c:pt idx="133">
                  <c:v>109</c:v>
                </c:pt>
                <c:pt idx="134">
                  <c:v>90</c:v>
                </c:pt>
                <c:pt idx="135">
                  <c:v>65</c:v>
                </c:pt>
                <c:pt idx="136">
                  <c:v>47</c:v>
                </c:pt>
                <c:pt idx="137">
                  <c:v>40</c:v>
                </c:pt>
                <c:pt idx="138">
                  <c:v>44</c:v>
                </c:pt>
                <c:pt idx="139">
                  <c:v>40</c:v>
                </c:pt>
                <c:pt idx="140">
                  <c:v>70</c:v>
                </c:pt>
                <c:pt idx="141">
                  <c:v>49</c:v>
                </c:pt>
                <c:pt idx="142">
                  <c:v>40</c:v>
                </c:pt>
                <c:pt idx="143">
                  <c:v>38</c:v>
                </c:pt>
                <c:pt idx="144">
                  <c:v>38</c:v>
                </c:pt>
                <c:pt idx="145">
                  <c:v>22</c:v>
                </c:pt>
                <c:pt idx="146">
                  <c:v>59</c:v>
                </c:pt>
                <c:pt idx="147">
                  <c:v>44</c:v>
                </c:pt>
                <c:pt idx="148">
                  <c:v>53</c:v>
                </c:pt>
                <c:pt idx="149">
                  <c:v>62</c:v>
                </c:pt>
                <c:pt idx="150">
                  <c:v>39</c:v>
                </c:pt>
                <c:pt idx="151">
                  <c:v>40</c:v>
                </c:pt>
                <c:pt idx="152">
                  <c:v>15</c:v>
                </c:pt>
                <c:pt idx="153">
                  <c:v>29</c:v>
                </c:pt>
                <c:pt idx="154">
                  <c:v>40</c:v>
                </c:pt>
                <c:pt idx="155">
                  <c:v>43</c:v>
                </c:pt>
                <c:pt idx="156">
                  <c:v>26</c:v>
                </c:pt>
                <c:pt idx="157">
                  <c:v>40</c:v>
                </c:pt>
                <c:pt idx="158">
                  <c:v>10</c:v>
                </c:pt>
                <c:pt idx="159">
                  <c:v>22</c:v>
                </c:pt>
                <c:pt idx="160">
                  <c:v>16</c:v>
                </c:pt>
                <c:pt idx="161">
                  <c:v>26</c:v>
                </c:pt>
                <c:pt idx="162">
                  <c:v>29</c:v>
                </c:pt>
                <c:pt idx="163">
                  <c:v>32</c:v>
                </c:pt>
                <c:pt idx="164">
                  <c:v>22</c:v>
                </c:pt>
                <c:pt idx="165">
                  <c:v>10</c:v>
                </c:pt>
                <c:pt idx="166">
                  <c:v>16</c:v>
                </c:pt>
                <c:pt idx="167">
                  <c:v>25</c:v>
                </c:pt>
                <c:pt idx="168">
                  <c:v>28</c:v>
                </c:pt>
                <c:pt idx="169">
                  <c:v>8</c:v>
                </c:pt>
                <c:pt idx="170">
                  <c:v>19</c:v>
                </c:pt>
                <c:pt idx="171">
                  <c:v>11</c:v>
                </c:pt>
                <c:pt idx="172">
                  <c:v>10</c:v>
                </c:pt>
                <c:pt idx="173">
                  <c:v>9</c:v>
                </c:pt>
                <c:pt idx="174">
                  <c:v>9</c:v>
                </c:pt>
                <c:pt idx="175">
                  <c:v>12</c:v>
                </c:pt>
                <c:pt idx="176">
                  <c:v>13</c:v>
                </c:pt>
                <c:pt idx="177">
                  <c:v>9</c:v>
                </c:pt>
                <c:pt idx="178">
                  <c:v>14</c:v>
                </c:pt>
                <c:pt idx="179">
                  <c:v>1</c:v>
                </c:pt>
                <c:pt idx="180">
                  <c:v>3</c:v>
                </c:pt>
                <c:pt idx="181">
                  <c:v>6</c:v>
                </c:pt>
                <c:pt idx="182">
                  <c:v>10</c:v>
                </c:pt>
                <c:pt idx="183">
                  <c:v>6</c:v>
                </c:pt>
                <c:pt idx="184">
                  <c:v>7</c:v>
                </c:pt>
                <c:pt idx="185">
                  <c:v>7</c:v>
                </c:pt>
                <c:pt idx="186">
                  <c:v>2</c:v>
                </c:pt>
                <c:pt idx="187">
                  <c:v>0</c:v>
                </c:pt>
                <c:pt idx="188">
                  <c:v>2</c:v>
                </c:pt>
                <c:pt idx="189">
                  <c:v>4</c:v>
                </c:pt>
                <c:pt idx="190">
                  <c:v>3</c:v>
                </c:pt>
                <c:pt idx="191">
                  <c:v>1</c:v>
                </c:pt>
                <c:pt idx="192">
                  <c:v>3</c:v>
                </c:pt>
                <c:pt idx="193">
                  <c:v>3</c:v>
                </c:pt>
                <c:pt idx="19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8AA-4091-93F5-5E97C78DB2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8AA-4091-93F5-5E97C78DB2B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123</c:v>
                </c:pt>
                <c:pt idx="122">
                  <c:v>120</c:v>
                </c:pt>
                <c:pt idx="123">
                  <c:v>116</c:v>
                </c:pt>
                <c:pt idx="124">
                  <c:v>113</c:v>
                </c:pt>
                <c:pt idx="125">
                  <c:v>110</c:v>
                </c:pt>
                <c:pt idx="126">
                  <c:v>107</c:v>
                </c:pt>
                <c:pt idx="127">
                  <c:v>104</c:v>
                </c:pt>
                <c:pt idx="128">
                  <c:v>101</c:v>
                </c:pt>
                <c:pt idx="129">
                  <c:v>98</c:v>
                </c:pt>
                <c:pt idx="130">
                  <c:v>95</c:v>
                </c:pt>
                <c:pt idx="131">
                  <c:v>92</c:v>
                </c:pt>
                <c:pt idx="132">
                  <c:v>90</c:v>
                </c:pt>
                <c:pt idx="133">
                  <c:v>87</c:v>
                </c:pt>
                <c:pt idx="134">
                  <c:v>85</c:v>
                </c:pt>
                <c:pt idx="135">
                  <c:v>82</c:v>
                </c:pt>
                <c:pt idx="136">
                  <c:v>80</c:v>
                </c:pt>
                <c:pt idx="137">
                  <c:v>77</c:v>
                </c:pt>
                <c:pt idx="138">
                  <c:v>75</c:v>
                </c:pt>
                <c:pt idx="139">
                  <c:v>73</c:v>
                </c:pt>
                <c:pt idx="140">
                  <c:v>70</c:v>
                </c:pt>
                <c:pt idx="141">
                  <c:v>68</c:v>
                </c:pt>
                <c:pt idx="142">
                  <c:v>66</c:v>
                </c:pt>
                <c:pt idx="143">
                  <c:v>64</c:v>
                </c:pt>
                <c:pt idx="144">
                  <c:v>62</c:v>
                </c:pt>
                <c:pt idx="145">
                  <c:v>60</c:v>
                </c:pt>
                <c:pt idx="146">
                  <c:v>58</c:v>
                </c:pt>
                <c:pt idx="147">
                  <c:v>56</c:v>
                </c:pt>
                <c:pt idx="148">
                  <c:v>54</c:v>
                </c:pt>
                <c:pt idx="149">
                  <c:v>53</c:v>
                </c:pt>
                <c:pt idx="150">
                  <c:v>51</c:v>
                </c:pt>
                <c:pt idx="151">
                  <c:v>49</c:v>
                </c:pt>
                <c:pt idx="152">
                  <c:v>47</c:v>
                </c:pt>
                <c:pt idx="153">
                  <c:v>46</c:v>
                </c:pt>
                <c:pt idx="154">
                  <c:v>44</c:v>
                </c:pt>
                <c:pt idx="155">
                  <c:v>42</c:v>
                </c:pt>
                <c:pt idx="156">
                  <c:v>41</c:v>
                </c:pt>
                <c:pt idx="157">
                  <c:v>39</c:v>
                </c:pt>
                <c:pt idx="158">
                  <c:v>38</c:v>
                </c:pt>
                <c:pt idx="159">
                  <c:v>36</c:v>
                </c:pt>
                <c:pt idx="160">
                  <c:v>35</c:v>
                </c:pt>
                <c:pt idx="161">
                  <c:v>34</c:v>
                </c:pt>
                <c:pt idx="162">
                  <c:v>32</c:v>
                </c:pt>
                <c:pt idx="163">
                  <c:v>31</c:v>
                </c:pt>
                <c:pt idx="164">
                  <c:v>30</c:v>
                </c:pt>
                <c:pt idx="165">
                  <c:v>29</c:v>
                </c:pt>
                <c:pt idx="166">
                  <c:v>28</c:v>
                </c:pt>
                <c:pt idx="167">
                  <c:v>26</c:v>
                </c:pt>
                <c:pt idx="168">
                  <c:v>25</c:v>
                </c:pt>
                <c:pt idx="169">
                  <c:v>24</c:v>
                </c:pt>
                <c:pt idx="170">
                  <c:v>23</c:v>
                </c:pt>
                <c:pt idx="171">
                  <c:v>22</c:v>
                </c:pt>
                <c:pt idx="172">
                  <c:v>21</c:v>
                </c:pt>
                <c:pt idx="173">
                  <c:v>20</c:v>
                </c:pt>
                <c:pt idx="174">
                  <c:v>19</c:v>
                </c:pt>
                <c:pt idx="175">
                  <c:v>18</c:v>
                </c:pt>
                <c:pt idx="176">
                  <c:v>17</c:v>
                </c:pt>
                <c:pt idx="177">
                  <c:v>16</c:v>
                </c:pt>
                <c:pt idx="178">
                  <c:v>15</c:v>
                </c:pt>
                <c:pt idx="179">
                  <c:v>15</c:v>
                </c:pt>
                <c:pt idx="180">
                  <c:v>14</c:v>
                </c:pt>
                <c:pt idx="181">
                  <c:v>13</c:v>
                </c:pt>
                <c:pt idx="182">
                  <c:v>12</c:v>
                </c:pt>
                <c:pt idx="183">
                  <c:v>12</c:v>
                </c:pt>
                <c:pt idx="184">
                  <c:v>11</c:v>
                </c:pt>
                <c:pt idx="185">
                  <c:v>10</c:v>
                </c:pt>
                <c:pt idx="186">
                  <c:v>10</c:v>
                </c:pt>
                <c:pt idx="187">
                  <c:v>9</c:v>
                </c:pt>
                <c:pt idx="188">
                  <c:v>9</c:v>
                </c:pt>
                <c:pt idx="189">
                  <c:v>8</c:v>
                </c:pt>
                <c:pt idx="190">
                  <c:v>8</c:v>
                </c:pt>
                <c:pt idx="191">
                  <c:v>7</c:v>
                </c:pt>
                <c:pt idx="192">
                  <c:v>7</c:v>
                </c:pt>
                <c:pt idx="193">
                  <c:v>6</c:v>
                </c:pt>
                <c:pt idx="194">
                  <c:v>6</c:v>
                </c:pt>
                <c:pt idx="195">
                  <c:v>6</c:v>
                </c:pt>
                <c:pt idx="196">
                  <c:v>5</c:v>
                </c:pt>
                <c:pt idx="197">
                  <c:v>5</c:v>
                </c:pt>
                <c:pt idx="198">
                  <c:v>5</c:v>
                </c:pt>
                <c:pt idx="199">
                  <c:v>4</c:v>
                </c:pt>
                <c:pt idx="200">
                  <c:v>4</c:v>
                </c:pt>
                <c:pt idx="201">
                  <c:v>4</c:v>
                </c:pt>
                <c:pt idx="202">
                  <c:v>4</c:v>
                </c:pt>
                <c:pt idx="203">
                  <c:v>3</c:v>
                </c:pt>
                <c:pt idx="204">
                  <c:v>3</c:v>
                </c:pt>
                <c:pt idx="205">
                  <c:v>3</c:v>
                </c:pt>
                <c:pt idx="206">
                  <c:v>3</c:v>
                </c:pt>
                <c:pt idx="207">
                  <c:v>3</c:v>
                </c:pt>
                <c:pt idx="208">
                  <c:v>2</c:v>
                </c:pt>
                <c:pt idx="209">
                  <c:v>2</c:v>
                </c:pt>
                <c:pt idx="210">
                  <c:v>2</c:v>
                </c:pt>
                <c:pt idx="211">
                  <c:v>2</c:v>
                </c:pt>
                <c:pt idx="212">
                  <c:v>2</c:v>
                </c:pt>
                <c:pt idx="213">
                  <c:v>2</c:v>
                </c:pt>
                <c:pt idx="214">
                  <c:v>1</c:v>
                </c:pt>
                <c:pt idx="215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8AA-4091-93F5-5E97C78DB2B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123</c:v>
                </c:pt>
                <c:pt idx="122">
                  <c:v>120</c:v>
                </c:pt>
                <c:pt idx="123">
                  <c:v>116</c:v>
                </c:pt>
                <c:pt idx="124">
                  <c:v>113</c:v>
                </c:pt>
                <c:pt idx="125">
                  <c:v>110</c:v>
                </c:pt>
                <c:pt idx="126">
                  <c:v>107</c:v>
                </c:pt>
                <c:pt idx="127">
                  <c:v>104</c:v>
                </c:pt>
                <c:pt idx="128">
                  <c:v>101</c:v>
                </c:pt>
                <c:pt idx="129">
                  <c:v>98</c:v>
                </c:pt>
                <c:pt idx="130">
                  <c:v>95</c:v>
                </c:pt>
                <c:pt idx="131">
                  <c:v>92</c:v>
                </c:pt>
                <c:pt idx="132">
                  <c:v>90</c:v>
                </c:pt>
                <c:pt idx="133">
                  <c:v>87</c:v>
                </c:pt>
                <c:pt idx="134">
                  <c:v>85</c:v>
                </c:pt>
                <c:pt idx="135">
                  <c:v>82</c:v>
                </c:pt>
                <c:pt idx="136">
                  <c:v>80</c:v>
                </c:pt>
                <c:pt idx="137">
                  <c:v>77</c:v>
                </c:pt>
                <c:pt idx="138">
                  <c:v>75</c:v>
                </c:pt>
                <c:pt idx="139">
                  <c:v>73</c:v>
                </c:pt>
                <c:pt idx="140">
                  <c:v>70</c:v>
                </c:pt>
                <c:pt idx="141">
                  <c:v>68</c:v>
                </c:pt>
                <c:pt idx="142">
                  <c:v>66</c:v>
                </c:pt>
                <c:pt idx="143">
                  <c:v>64</c:v>
                </c:pt>
                <c:pt idx="144">
                  <c:v>62</c:v>
                </c:pt>
                <c:pt idx="145">
                  <c:v>60</c:v>
                </c:pt>
                <c:pt idx="146">
                  <c:v>58</c:v>
                </c:pt>
                <c:pt idx="147">
                  <c:v>56</c:v>
                </c:pt>
                <c:pt idx="148">
                  <c:v>54</c:v>
                </c:pt>
                <c:pt idx="149">
                  <c:v>53</c:v>
                </c:pt>
                <c:pt idx="150">
                  <c:v>51</c:v>
                </c:pt>
                <c:pt idx="151">
                  <c:v>49</c:v>
                </c:pt>
                <c:pt idx="152">
                  <c:v>47</c:v>
                </c:pt>
                <c:pt idx="153">
                  <c:v>46</c:v>
                </c:pt>
                <c:pt idx="154">
                  <c:v>44</c:v>
                </c:pt>
                <c:pt idx="155">
                  <c:v>42</c:v>
                </c:pt>
                <c:pt idx="156">
                  <c:v>41</c:v>
                </c:pt>
                <c:pt idx="157">
                  <c:v>39</c:v>
                </c:pt>
                <c:pt idx="158">
                  <c:v>38</c:v>
                </c:pt>
                <c:pt idx="159">
                  <c:v>36</c:v>
                </c:pt>
                <c:pt idx="160">
                  <c:v>35</c:v>
                </c:pt>
                <c:pt idx="161">
                  <c:v>34</c:v>
                </c:pt>
                <c:pt idx="162">
                  <c:v>32</c:v>
                </c:pt>
                <c:pt idx="163">
                  <c:v>31</c:v>
                </c:pt>
                <c:pt idx="164">
                  <c:v>30</c:v>
                </c:pt>
                <c:pt idx="165">
                  <c:v>29</c:v>
                </c:pt>
                <c:pt idx="166">
                  <c:v>28</c:v>
                </c:pt>
                <c:pt idx="167">
                  <c:v>26</c:v>
                </c:pt>
                <c:pt idx="168">
                  <c:v>26</c:v>
                </c:pt>
                <c:pt idx="169">
                  <c:v>26</c:v>
                </c:pt>
                <c:pt idx="170">
                  <c:v>25</c:v>
                </c:pt>
                <c:pt idx="171">
                  <c:v>25</c:v>
                </c:pt>
                <c:pt idx="172">
                  <c:v>25</c:v>
                </c:pt>
                <c:pt idx="173">
                  <c:v>25</c:v>
                </c:pt>
                <c:pt idx="174">
                  <c:v>25</c:v>
                </c:pt>
                <c:pt idx="175">
                  <c:v>26</c:v>
                </c:pt>
                <c:pt idx="176">
                  <c:v>26</c:v>
                </c:pt>
                <c:pt idx="177">
                  <c:v>27</c:v>
                </c:pt>
                <c:pt idx="178">
                  <c:v>27</c:v>
                </c:pt>
                <c:pt idx="179">
                  <c:v>28</c:v>
                </c:pt>
                <c:pt idx="180">
                  <c:v>29</c:v>
                </c:pt>
                <c:pt idx="181">
                  <c:v>29</c:v>
                </c:pt>
                <c:pt idx="182">
                  <c:v>30</c:v>
                </c:pt>
                <c:pt idx="183">
                  <c:v>31</c:v>
                </c:pt>
                <c:pt idx="184">
                  <c:v>32</c:v>
                </c:pt>
                <c:pt idx="185">
                  <c:v>32</c:v>
                </c:pt>
                <c:pt idx="186">
                  <c:v>33</c:v>
                </c:pt>
                <c:pt idx="187">
                  <c:v>34</c:v>
                </c:pt>
                <c:pt idx="188">
                  <c:v>35</c:v>
                </c:pt>
                <c:pt idx="189">
                  <c:v>35</c:v>
                </c:pt>
                <c:pt idx="190">
                  <c:v>36</c:v>
                </c:pt>
                <c:pt idx="191">
                  <c:v>37</c:v>
                </c:pt>
                <c:pt idx="192">
                  <c:v>38</c:v>
                </c:pt>
                <c:pt idx="193">
                  <c:v>39</c:v>
                </c:pt>
                <c:pt idx="194">
                  <c:v>39</c:v>
                </c:pt>
                <c:pt idx="195">
                  <c:v>40</c:v>
                </c:pt>
                <c:pt idx="196">
                  <c:v>41</c:v>
                </c:pt>
                <c:pt idx="197">
                  <c:v>42</c:v>
                </c:pt>
                <c:pt idx="198">
                  <c:v>42</c:v>
                </c:pt>
                <c:pt idx="199">
                  <c:v>43</c:v>
                </c:pt>
                <c:pt idx="200">
                  <c:v>43</c:v>
                </c:pt>
                <c:pt idx="201">
                  <c:v>44</c:v>
                </c:pt>
                <c:pt idx="202">
                  <c:v>44</c:v>
                </c:pt>
                <c:pt idx="203">
                  <c:v>45</c:v>
                </c:pt>
                <c:pt idx="204">
                  <c:v>45</c:v>
                </c:pt>
                <c:pt idx="205">
                  <c:v>45</c:v>
                </c:pt>
                <c:pt idx="206">
                  <c:v>45</c:v>
                </c:pt>
                <c:pt idx="207">
                  <c:v>45</c:v>
                </c:pt>
                <c:pt idx="208">
                  <c:v>45</c:v>
                </c:pt>
                <c:pt idx="209">
                  <c:v>45</c:v>
                </c:pt>
                <c:pt idx="210">
                  <c:v>45</c:v>
                </c:pt>
                <c:pt idx="211">
                  <c:v>45</c:v>
                </c:pt>
                <c:pt idx="212">
                  <c:v>45</c:v>
                </c:pt>
                <c:pt idx="213">
                  <c:v>44</c:v>
                </c:pt>
                <c:pt idx="214">
                  <c:v>44</c:v>
                </c:pt>
                <c:pt idx="215">
                  <c:v>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8AA-4091-93F5-5E97C78DB2BD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8AA-4091-93F5-5E97C78DB2BD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8AA-4091-93F5-5E97C78DB2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5.06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0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8626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5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65424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4" r:id="rId9"/>
    <p:sldLayoutId id="2147483665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3" Type="http://schemas.openxmlformats.org/officeDocument/2006/relationships/tags" Target="../tags/tag28.xml"/><Relationship Id="rId7" Type="http://schemas.openxmlformats.org/officeDocument/2006/relationships/image" Target="../media/image21.emf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20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2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tags" Target="../tags/tag32.xml"/><Relationship Id="rId7" Type="http://schemas.openxmlformats.org/officeDocument/2006/relationships/image" Target="../media/image23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22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3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tags" Target="../tags/tag36.xml"/><Relationship Id="rId7" Type="http://schemas.openxmlformats.org/officeDocument/2006/relationships/image" Target="../media/image25.jpe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24.gif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3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3" Type="http://schemas.openxmlformats.org/officeDocument/2006/relationships/tags" Target="../tags/tag40.xml"/><Relationship Id="rId7" Type="http://schemas.openxmlformats.org/officeDocument/2006/relationships/image" Target="../media/image27.emf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26.emf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4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3" Type="http://schemas.openxmlformats.org/officeDocument/2006/relationships/tags" Target="../tags/tag44.xml"/><Relationship Id="rId7" Type="http://schemas.openxmlformats.org/officeDocument/2006/relationships/image" Target="../media/image29.jpe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28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4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chart" Target="../charts/chart1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30.jpe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49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3.xml"/><Relationship Id="rId3" Type="http://schemas.openxmlformats.org/officeDocument/2006/relationships/tags" Target="../tags/tag52.xml"/><Relationship Id="rId7" Type="http://schemas.openxmlformats.org/officeDocument/2006/relationships/image" Target="../media/image32.png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31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5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4.xml"/><Relationship Id="rId3" Type="http://schemas.openxmlformats.org/officeDocument/2006/relationships/tags" Target="../tags/tag56.xml"/><Relationship Id="rId7" Type="http://schemas.openxmlformats.org/officeDocument/2006/relationships/image" Target="../media/image34.jpg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33.gif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5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5.xml"/><Relationship Id="rId3" Type="http://schemas.openxmlformats.org/officeDocument/2006/relationships/tags" Target="../tags/tag60.xml"/><Relationship Id="rId7" Type="http://schemas.openxmlformats.org/officeDocument/2006/relationships/image" Target="../media/image36.png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35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6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chart" Target="../charts/chart1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chart" Target="../charts/chart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1.gif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12.xml"/><Relationship Id="rId7" Type="http://schemas.openxmlformats.org/officeDocument/2006/relationships/image" Target="../media/image13.tiff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2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tags" Target="../tags/tag16.xml"/><Relationship Id="rId7" Type="http://schemas.openxmlformats.org/officeDocument/2006/relationships/image" Target="../media/image15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4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tags" Target="../tags/tag20.xml"/><Relationship Id="rId7" Type="http://schemas.openxmlformats.org/officeDocument/2006/relationships/image" Target="../media/image17.jpe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6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2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tags" Target="../tags/tag24.xml"/><Relationship Id="rId7" Type="http://schemas.openxmlformats.org/officeDocument/2006/relationships/image" Target="../media/image19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8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Stav a vývoj epidemie COVID-19 </a:t>
            </a:r>
            <a:br>
              <a:rPr lang="cs-CZ" dirty="0"/>
            </a:br>
            <a:r>
              <a:rPr lang="cs-CZ" dirty="0"/>
              <a:t>v dostupných datech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79294" y="3693110"/>
            <a:ext cx="11681012" cy="1909832"/>
          </a:xfrm>
        </p:spPr>
        <p:txBody>
          <a:bodyPr>
            <a:normAutofit/>
          </a:bodyPr>
          <a:lstStyle/>
          <a:p>
            <a:r>
              <a:rPr lang="cs-CZ" sz="4800" b="1" dirty="0"/>
              <a:t>Dlouhodobé populační simulace</a:t>
            </a:r>
          </a:p>
          <a:p>
            <a:r>
              <a:rPr lang="cs-CZ" sz="3200" b="1" i="1" dirty="0">
                <a:solidFill>
                  <a:srgbClr val="C00000"/>
                </a:solidFill>
              </a:rPr>
              <a:t>- Aktualizace 14. 6. 2021 -</a:t>
            </a:r>
            <a:endParaRPr lang="cs-CZ" sz="3200" b="1" dirty="0"/>
          </a:p>
        </p:txBody>
      </p:sp>
    </p:spTree>
    <p:extLst>
      <p:ext uri="{BB962C8B-B14F-4D97-AF65-F5344CB8AC3E}">
        <p14:creationId xmlns:p14="http://schemas.microsoft.com/office/powerpoint/2010/main" val="38563258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271579FA-3CA1-4C67-9F70-23A0E46E31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Ústecký kraj</a:t>
            </a:r>
            <a:endParaRPr lang="cs-CZ" sz="1800" dirty="0">
              <a:latin typeface="+mj-lt"/>
            </a:endParaRP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313B981D-72FF-4784-949D-EDA0C14B0053}"/>
              </a:ext>
            </a:extLst>
          </p:cNvPr>
          <p:cNvGrpSpPr/>
          <p:nvPr/>
        </p:nvGrpSpPr>
        <p:grpSpPr>
          <a:xfrm>
            <a:off x="11002009" y="622266"/>
            <a:ext cx="1106941" cy="258352"/>
            <a:chOff x="12381998" y="598524"/>
            <a:chExt cx="2097028" cy="489432"/>
          </a:xfrm>
        </p:grpSpPr>
        <p:pic>
          <p:nvPicPr>
            <p:cNvPr id="26" name="Picture 2">
              <a:extLst>
                <a:ext uri="{FF2B5EF4-FFF2-40B4-BE49-F238E27FC236}">
                  <a16:creationId xmlns:a16="http://schemas.microsoft.com/office/drawing/2014/main" id="{C73488D1-767A-4260-99B1-6E062EF0CA1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81998" y="608400"/>
              <a:ext cx="388441" cy="4795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E45B9078-AF19-4DC7-85EF-F749003B4AF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2851434" y="598524"/>
              <a:ext cx="1627592" cy="470468"/>
            </a:xfrm>
            <a:prstGeom prst="rect">
              <a:avLst/>
            </a:prstGeom>
          </p:spPr>
        </p:pic>
      </p:grpSp>
      <p:graphicFrame>
        <p:nvGraphicFramePr>
          <p:cNvPr id="28" name="Chart 4">
            <a:extLst>
              <a:ext uri="{FF2B5EF4-FFF2-40B4-BE49-F238E27FC236}">
                <a16:creationId xmlns:a16="http://schemas.microsoft.com/office/drawing/2014/main" id="{6D16E355-6CFD-4062-B77A-86E16B56930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36547095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A53C4583-C88D-4CCD-99AB-CE34B8BDCBB9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6FD46FCC-7D42-408C-B962-9B4D5976EDF4}"/>
              </a:ext>
            </a:extLst>
          </p:cNvPr>
          <p:cNvSpPr txBox="1"/>
          <p:nvPr/>
        </p:nvSpPr>
        <p:spPr>
          <a:xfrm>
            <a:off x="202606" y="1279671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9EBEA754-B388-4D80-B92D-4A52D4851E24}"/>
              </a:ext>
            </a:extLst>
          </p:cNvPr>
          <p:cNvCxnSpPr>
            <a:cxnSpLocks/>
          </p:cNvCxnSpPr>
          <p:nvPr/>
        </p:nvCxnSpPr>
        <p:spPr>
          <a:xfrm flipV="1">
            <a:off x="2536182" y="1089074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A56F4292-33D4-49C6-ADA2-953D5F2ADC1E}"/>
              </a:ext>
            </a:extLst>
          </p:cNvPr>
          <p:cNvCxnSpPr>
            <a:cxnSpLocks/>
          </p:cNvCxnSpPr>
          <p:nvPr/>
        </p:nvCxnSpPr>
        <p:spPr>
          <a:xfrm>
            <a:off x="2536182" y="1515876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74C966AB-FDAB-42DE-81F5-1E827EAEEA79}"/>
              </a:ext>
            </a:extLst>
          </p:cNvPr>
          <p:cNvSpPr txBox="1"/>
          <p:nvPr/>
        </p:nvSpPr>
        <p:spPr>
          <a:xfrm>
            <a:off x="6162851" y="3529568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CE57D697-EAA8-468C-8182-7539AFEA85C2}"/>
              </a:ext>
            </a:extLst>
          </p:cNvPr>
          <p:cNvSpPr txBox="1"/>
          <p:nvPr/>
        </p:nvSpPr>
        <p:spPr>
          <a:xfrm>
            <a:off x="6154994" y="3800769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C21FA4E9-E74E-4F48-A940-EE23DDEA30F2}"/>
              </a:ext>
            </a:extLst>
          </p:cNvPr>
          <p:cNvSpPr/>
          <p:nvPr/>
        </p:nvSpPr>
        <p:spPr>
          <a:xfrm>
            <a:off x="5881605" y="3207731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0173D64E-6C19-4991-9405-C5065CB21312}"/>
              </a:ext>
            </a:extLst>
          </p:cNvPr>
          <p:cNvSpPr txBox="1"/>
          <p:nvPr/>
        </p:nvSpPr>
        <p:spPr>
          <a:xfrm>
            <a:off x="6178785" y="3171963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13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789D62D4-F95C-4257-B317-F8E82370B739}"/>
              </a:ext>
            </a:extLst>
          </p:cNvPr>
          <p:cNvSpPr/>
          <p:nvPr/>
        </p:nvSpPr>
        <p:spPr>
          <a:xfrm>
            <a:off x="6178785" y="4097019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7" name="TextovéPole 29">
            <a:extLst>
              <a:ext uri="{FF2B5EF4-FFF2-40B4-BE49-F238E27FC236}">
                <a16:creationId xmlns:a16="http://schemas.microsoft.com/office/drawing/2014/main" id="{2A5C9413-FDA1-40AF-B8CC-FCDB326E9E7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914813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ovéPole 30">
            <a:extLst>
              <a:ext uri="{FF2B5EF4-FFF2-40B4-BE49-F238E27FC236}">
                <a16:creationId xmlns:a16="http://schemas.microsoft.com/office/drawing/2014/main" id="{1AB3B12A-07C3-4A3F-9224-2558F585CBE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649707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26BAA5BD-53B1-4330-A67A-44F7793A426D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683456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9F2A1572-BB68-4078-BE78-A893A6632612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3971326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24">
            <a:extLst>
              <a:ext uri="{FF2B5EF4-FFF2-40B4-BE49-F238E27FC236}">
                <a16:creationId xmlns:a16="http://schemas.microsoft.com/office/drawing/2014/main" id="{5CACEB8C-A40A-45EF-88CB-45A893C1CBF5}"/>
              </a:ext>
            </a:extLst>
          </p:cNvPr>
          <p:cNvSpPr txBox="1"/>
          <p:nvPr/>
        </p:nvSpPr>
        <p:spPr>
          <a:xfrm>
            <a:off x="3060057" y="2040098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31291380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0117A272-DFF4-4BB8-8D0F-9FC358EA40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Liberecký kraj</a:t>
            </a:r>
            <a:endParaRPr lang="cs-CZ" sz="1800" dirty="0">
              <a:latin typeface="+mj-lt"/>
            </a:endParaRP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353C84CB-62BF-455B-8D5A-5BD1185C14A8}"/>
              </a:ext>
            </a:extLst>
          </p:cNvPr>
          <p:cNvGrpSpPr/>
          <p:nvPr/>
        </p:nvGrpSpPr>
        <p:grpSpPr>
          <a:xfrm>
            <a:off x="11213431" y="618253"/>
            <a:ext cx="885789" cy="249232"/>
            <a:chOff x="12375318" y="2890002"/>
            <a:chExt cx="1689602" cy="475399"/>
          </a:xfrm>
        </p:grpSpPr>
        <p:pic>
          <p:nvPicPr>
            <p:cNvPr id="26" name="Obrázek 25">
              <a:extLst>
                <a:ext uri="{FF2B5EF4-FFF2-40B4-BE49-F238E27FC236}">
                  <a16:creationId xmlns:a16="http://schemas.microsoft.com/office/drawing/2014/main" id="{3A01E0F0-5F04-457E-8DBB-D1FA7FAD4B5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375318" y="2926201"/>
              <a:ext cx="364634" cy="439200"/>
            </a:xfrm>
            <a:prstGeom prst="rect">
              <a:avLst/>
            </a:prstGeom>
          </p:spPr>
        </p:pic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2AF075E4-35A9-4C63-8753-0BCBA35DEC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6842" t="32400" r="5593" b="32385"/>
            <a:stretch/>
          </p:blipFill>
          <p:spPr>
            <a:xfrm>
              <a:off x="12882808" y="2890002"/>
              <a:ext cx="1182112" cy="475399"/>
            </a:xfrm>
            <a:prstGeom prst="rect">
              <a:avLst/>
            </a:prstGeom>
          </p:spPr>
        </p:pic>
      </p:grpSp>
      <p:graphicFrame>
        <p:nvGraphicFramePr>
          <p:cNvPr id="28" name="Chart 4">
            <a:extLst>
              <a:ext uri="{FF2B5EF4-FFF2-40B4-BE49-F238E27FC236}">
                <a16:creationId xmlns:a16="http://schemas.microsoft.com/office/drawing/2014/main" id="{0970FA0B-322F-4E59-A71C-D0B5BA5A91E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85762236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0D212079-3953-4360-8C2A-8B21BF86C6B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A46424C4-3DCE-429A-9B9D-33F67D158418}"/>
              </a:ext>
            </a:extLst>
          </p:cNvPr>
          <p:cNvSpPr txBox="1"/>
          <p:nvPr/>
        </p:nvSpPr>
        <p:spPr>
          <a:xfrm>
            <a:off x="202606" y="1288724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EAFC25D1-0925-486D-BECC-616749A6F960}"/>
              </a:ext>
            </a:extLst>
          </p:cNvPr>
          <p:cNvCxnSpPr>
            <a:cxnSpLocks/>
          </p:cNvCxnSpPr>
          <p:nvPr/>
        </p:nvCxnSpPr>
        <p:spPr>
          <a:xfrm flipV="1">
            <a:off x="2536182" y="109812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C9CB5C27-B785-418A-850E-B4605765C2F7}"/>
              </a:ext>
            </a:extLst>
          </p:cNvPr>
          <p:cNvCxnSpPr>
            <a:cxnSpLocks/>
          </p:cNvCxnSpPr>
          <p:nvPr/>
        </p:nvCxnSpPr>
        <p:spPr>
          <a:xfrm>
            <a:off x="2536182" y="152492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2C835BDD-1484-4581-A317-9329987B1F28}"/>
              </a:ext>
            </a:extLst>
          </p:cNvPr>
          <p:cNvSpPr txBox="1"/>
          <p:nvPr/>
        </p:nvSpPr>
        <p:spPr>
          <a:xfrm>
            <a:off x="6162851" y="3538621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2E997F99-1EC6-42F4-BDD0-A97725530CB0}"/>
              </a:ext>
            </a:extLst>
          </p:cNvPr>
          <p:cNvSpPr txBox="1"/>
          <p:nvPr/>
        </p:nvSpPr>
        <p:spPr>
          <a:xfrm>
            <a:off x="6154994" y="3809822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89D24DB7-343F-4895-B4A4-0EFFD9DB3AFA}"/>
              </a:ext>
            </a:extLst>
          </p:cNvPr>
          <p:cNvSpPr/>
          <p:nvPr/>
        </p:nvSpPr>
        <p:spPr>
          <a:xfrm>
            <a:off x="5881605" y="3216784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6B31D6F9-E787-4426-8AEC-33E785B961C1}"/>
              </a:ext>
            </a:extLst>
          </p:cNvPr>
          <p:cNvSpPr txBox="1"/>
          <p:nvPr/>
        </p:nvSpPr>
        <p:spPr>
          <a:xfrm>
            <a:off x="6178785" y="3181016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13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6B989D06-7C51-4355-A1F3-329A403BC6E7}"/>
              </a:ext>
            </a:extLst>
          </p:cNvPr>
          <p:cNvSpPr/>
          <p:nvPr/>
        </p:nvSpPr>
        <p:spPr>
          <a:xfrm>
            <a:off x="6178785" y="4106072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7" name="TextovéPole 29">
            <a:extLst>
              <a:ext uri="{FF2B5EF4-FFF2-40B4-BE49-F238E27FC236}">
                <a16:creationId xmlns:a16="http://schemas.microsoft.com/office/drawing/2014/main" id="{CE32A645-87A3-4537-A34E-6B5FBA5263E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923866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ovéPole 30">
            <a:extLst>
              <a:ext uri="{FF2B5EF4-FFF2-40B4-BE49-F238E27FC236}">
                <a16:creationId xmlns:a16="http://schemas.microsoft.com/office/drawing/2014/main" id="{A974611D-5A34-4DC3-ABCC-3EF08321256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658760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AD50CB57-9C12-4918-8AC2-F9A031EE3ADE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692509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B19396F6-1F52-4920-8B4D-C7347317A412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3980379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24">
            <a:extLst>
              <a:ext uri="{FF2B5EF4-FFF2-40B4-BE49-F238E27FC236}">
                <a16:creationId xmlns:a16="http://schemas.microsoft.com/office/drawing/2014/main" id="{2CE1BE94-5EA5-4DB5-9C11-11733735BEBE}"/>
              </a:ext>
            </a:extLst>
          </p:cNvPr>
          <p:cNvSpPr txBox="1"/>
          <p:nvPr/>
        </p:nvSpPr>
        <p:spPr>
          <a:xfrm>
            <a:off x="3060057" y="2049151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23655090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B261C0B4-A28C-4A5D-9DEC-C497BECA2D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Královehradecký kraj</a:t>
            </a:r>
            <a:endParaRPr lang="cs-CZ" sz="1800" dirty="0">
              <a:latin typeface="+mj-lt"/>
            </a:endParaRP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43EBE636-5807-494C-B364-37317610804E}"/>
              </a:ext>
            </a:extLst>
          </p:cNvPr>
          <p:cNvGrpSpPr/>
          <p:nvPr/>
        </p:nvGrpSpPr>
        <p:grpSpPr>
          <a:xfrm>
            <a:off x="11136428" y="657628"/>
            <a:ext cx="969271" cy="298637"/>
            <a:chOff x="12375318" y="0"/>
            <a:chExt cx="1580446" cy="486943"/>
          </a:xfrm>
        </p:grpSpPr>
        <p:pic>
          <p:nvPicPr>
            <p:cNvPr id="26" name="Obrázek 25">
              <a:extLst>
                <a:ext uri="{FF2B5EF4-FFF2-40B4-BE49-F238E27FC236}">
                  <a16:creationId xmlns:a16="http://schemas.microsoft.com/office/drawing/2014/main" id="{FF6F9127-EC4F-4884-AFD2-D03708BBFBE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75318" y="17690"/>
              <a:ext cx="367200" cy="411266"/>
            </a:xfrm>
            <a:prstGeom prst="rect">
              <a:avLst/>
            </a:prstGeom>
          </p:spPr>
        </p:pic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0FC74DE4-B318-4474-B34D-7259F3AD593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55762" y="0"/>
              <a:ext cx="1100002" cy="486943"/>
            </a:xfrm>
            <a:prstGeom prst="rect">
              <a:avLst/>
            </a:prstGeom>
          </p:spPr>
        </p:pic>
      </p:grpSp>
      <p:graphicFrame>
        <p:nvGraphicFramePr>
          <p:cNvPr id="28" name="Chart 4">
            <a:extLst>
              <a:ext uri="{FF2B5EF4-FFF2-40B4-BE49-F238E27FC236}">
                <a16:creationId xmlns:a16="http://schemas.microsoft.com/office/drawing/2014/main" id="{B39F8B7B-CCC8-4EF2-B814-06D780BDEA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77728057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CA0EF2BD-7C00-4A1F-8F3D-42159E00C37A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6A33EAC2-D3F6-4B8A-8DAA-83836C841093}"/>
              </a:ext>
            </a:extLst>
          </p:cNvPr>
          <p:cNvSpPr txBox="1"/>
          <p:nvPr/>
        </p:nvSpPr>
        <p:spPr>
          <a:xfrm>
            <a:off x="202606" y="136114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873ED8B4-D3ED-4A04-A300-C95F27622BAE}"/>
              </a:ext>
            </a:extLst>
          </p:cNvPr>
          <p:cNvCxnSpPr>
            <a:cxnSpLocks/>
          </p:cNvCxnSpPr>
          <p:nvPr/>
        </p:nvCxnSpPr>
        <p:spPr>
          <a:xfrm flipV="1">
            <a:off x="2536182" y="1170551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E252B538-AFA9-440F-BD01-A84DA6EC7332}"/>
              </a:ext>
            </a:extLst>
          </p:cNvPr>
          <p:cNvCxnSpPr>
            <a:cxnSpLocks/>
          </p:cNvCxnSpPr>
          <p:nvPr/>
        </p:nvCxnSpPr>
        <p:spPr>
          <a:xfrm>
            <a:off x="2536182" y="1597353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E4CFD3DF-ACF9-4171-BD76-5D426DD9E658}"/>
              </a:ext>
            </a:extLst>
          </p:cNvPr>
          <p:cNvSpPr txBox="1"/>
          <p:nvPr/>
        </p:nvSpPr>
        <p:spPr>
          <a:xfrm>
            <a:off x="6162851" y="3611045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6EDEA2DD-0301-4A3A-935B-73FEA70C5A5D}"/>
              </a:ext>
            </a:extLst>
          </p:cNvPr>
          <p:cNvSpPr txBox="1"/>
          <p:nvPr/>
        </p:nvSpPr>
        <p:spPr>
          <a:xfrm>
            <a:off x="6154994" y="3882246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636CD71D-454B-40C1-9B94-EED1237CDF82}"/>
              </a:ext>
            </a:extLst>
          </p:cNvPr>
          <p:cNvSpPr/>
          <p:nvPr/>
        </p:nvSpPr>
        <p:spPr>
          <a:xfrm>
            <a:off x="5881605" y="3289208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C722FC45-D9AB-4C95-A6D3-81D63906CD8B}"/>
              </a:ext>
            </a:extLst>
          </p:cNvPr>
          <p:cNvSpPr txBox="1"/>
          <p:nvPr/>
        </p:nvSpPr>
        <p:spPr>
          <a:xfrm>
            <a:off x="6178785" y="3253440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13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2FD82AD8-AA5C-460B-B667-A5E6E7B57D3D}"/>
              </a:ext>
            </a:extLst>
          </p:cNvPr>
          <p:cNvSpPr/>
          <p:nvPr/>
        </p:nvSpPr>
        <p:spPr>
          <a:xfrm>
            <a:off x="6178785" y="4178496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7" name="TextovéPole 29">
            <a:extLst>
              <a:ext uri="{FF2B5EF4-FFF2-40B4-BE49-F238E27FC236}">
                <a16:creationId xmlns:a16="http://schemas.microsoft.com/office/drawing/2014/main" id="{5615D67B-5492-41F5-942C-8323B4C4B63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996290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ovéPole 30">
            <a:extLst>
              <a:ext uri="{FF2B5EF4-FFF2-40B4-BE49-F238E27FC236}">
                <a16:creationId xmlns:a16="http://schemas.microsoft.com/office/drawing/2014/main" id="{362042CA-D145-4E77-A7FC-7C251EA5623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731184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19FCE855-291A-46DC-A5FD-09023FBE4220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764933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79BCF781-1832-410B-9822-16AC743DC745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4052803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24">
            <a:extLst>
              <a:ext uri="{FF2B5EF4-FFF2-40B4-BE49-F238E27FC236}">
                <a16:creationId xmlns:a16="http://schemas.microsoft.com/office/drawing/2014/main" id="{D0BA8EED-07B7-42E6-A4D2-78376EB1CF54}"/>
              </a:ext>
            </a:extLst>
          </p:cNvPr>
          <p:cNvSpPr txBox="1"/>
          <p:nvPr/>
        </p:nvSpPr>
        <p:spPr>
          <a:xfrm>
            <a:off x="3060057" y="2121575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6766756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49124D04-FBC5-4DAF-8C3B-48B86B50B0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/>
              <a:t>Scénáře dlouhodobých simulací: </a:t>
            </a:r>
            <a:r>
              <a:rPr lang="cs-CZ" sz="1800" dirty="0"/>
              <a:t>Pardubický kraj</a:t>
            </a:r>
            <a:endParaRPr lang="cs-CZ" sz="1800" dirty="0">
              <a:latin typeface="+mj-lt"/>
            </a:endParaRP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64C0E007-3D3A-4011-86C2-C3FEB435A8DB}"/>
              </a:ext>
            </a:extLst>
          </p:cNvPr>
          <p:cNvGrpSpPr/>
          <p:nvPr/>
        </p:nvGrpSpPr>
        <p:grpSpPr>
          <a:xfrm>
            <a:off x="11058210" y="649226"/>
            <a:ext cx="1025315" cy="265174"/>
            <a:chOff x="12375318" y="5014932"/>
            <a:chExt cx="2087955" cy="540000"/>
          </a:xfrm>
        </p:grpSpPr>
        <p:pic>
          <p:nvPicPr>
            <p:cNvPr id="26" name="Obrázek 25">
              <a:extLst>
                <a:ext uri="{FF2B5EF4-FFF2-40B4-BE49-F238E27FC236}">
                  <a16:creationId xmlns:a16="http://schemas.microsoft.com/office/drawing/2014/main" id="{FD36FD30-C460-497E-A26E-AA5DA8EDDD0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375318" y="5047046"/>
              <a:ext cx="373253" cy="468000"/>
            </a:xfrm>
            <a:prstGeom prst="rect">
              <a:avLst/>
            </a:prstGeom>
          </p:spPr>
        </p:pic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704B8F03-1B1B-4FD6-83BA-6A75F57D999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2855762" y="5014932"/>
              <a:ext cx="1607511" cy="540000"/>
            </a:xfrm>
            <a:prstGeom prst="rect">
              <a:avLst/>
            </a:prstGeom>
          </p:spPr>
        </p:pic>
      </p:grpSp>
      <p:graphicFrame>
        <p:nvGraphicFramePr>
          <p:cNvPr id="28" name="Chart 4">
            <a:extLst>
              <a:ext uri="{FF2B5EF4-FFF2-40B4-BE49-F238E27FC236}">
                <a16:creationId xmlns:a16="http://schemas.microsoft.com/office/drawing/2014/main" id="{300335EC-3847-4034-9A2A-1D4A1DD8CA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24960302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AA3C7183-FA34-4E86-AC4E-3B7A090CBBAC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09371F59-5B2A-423C-8D0D-A09A5EBD1BE9}"/>
              </a:ext>
            </a:extLst>
          </p:cNvPr>
          <p:cNvSpPr txBox="1"/>
          <p:nvPr/>
        </p:nvSpPr>
        <p:spPr>
          <a:xfrm>
            <a:off x="202606" y="1297777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B6178A2E-C3FE-4878-8484-A95FC1FB1247}"/>
              </a:ext>
            </a:extLst>
          </p:cNvPr>
          <p:cNvCxnSpPr>
            <a:cxnSpLocks/>
          </p:cNvCxnSpPr>
          <p:nvPr/>
        </p:nvCxnSpPr>
        <p:spPr>
          <a:xfrm flipV="1">
            <a:off x="2536182" y="1107180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45037409-D0D1-4AEA-96E3-5050C07115E4}"/>
              </a:ext>
            </a:extLst>
          </p:cNvPr>
          <p:cNvCxnSpPr>
            <a:cxnSpLocks/>
          </p:cNvCxnSpPr>
          <p:nvPr/>
        </p:nvCxnSpPr>
        <p:spPr>
          <a:xfrm>
            <a:off x="2536182" y="1533982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14CAF728-E0E1-4F2E-B366-C9F6336DC1F7}"/>
              </a:ext>
            </a:extLst>
          </p:cNvPr>
          <p:cNvSpPr txBox="1"/>
          <p:nvPr/>
        </p:nvSpPr>
        <p:spPr>
          <a:xfrm>
            <a:off x="6162851" y="3547674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158BEAAC-947D-4D1B-9C89-5884E47D0C05}"/>
              </a:ext>
            </a:extLst>
          </p:cNvPr>
          <p:cNvSpPr txBox="1"/>
          <p:nvPr/>
        </p:nvSpPr>
        <p:spPr>
          <a:xfrm>
            <a:off x="6154994" y="3818875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AF8C95AD-3E2D-4530-9AD6-5851FA1CA0C6}"/>
              </a:ext>
            </a:extLst>
          </p:cNvPr>
          <p:cNvSpPr/>
          <p:nvPr/>
        </p:nvSpPr>
        <p:spPr>
          <a:xfrm>
            <a:off x="5881605" y="3225837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D3F1F8BD-4816-4713-81F2-4AD66D448F0C}"/>
              </a:ext>
            </a:extLst>
          </p:cNvPr>
          <p:cNvSpPr txBox="1"/>
          <p:nvPr/>
        </p:nvSpPr>
        <p:spPr>
          <a:xfrm>
            <a:off x="6178785" y="3190069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13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0032007F-0189-4154-AB1D-AC71079D76AF}"/>
              </a:ext>
            </a:extLst>
          </p:cNvPr>
          <p:cNvSpPr/>
          <p:nvPr/>
        </p:nvSpPr>
        <p:spPr>
          <a:xfrm>
            <a:off x="6178785" y="4115125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7" name="TextovéPole 29">
            <a:extLst>
              <a:ext uri="{FF2B5EF4-FFF2-40B4-BE49-F238E27FC236}">
                <a16:creationId xmlns:a16="http://schemas.microsoft.com/office/drawing/2014/main" id="{58A2F267-2BC7-4EB7-B8F8-0165D992A6B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932919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ovéPole 30">
            <a:extLst>
              <a:ext uri="{FF2B5EF4-FFF2-40B4-BE49-F238E27FC236}">
                <a16:creationId xmlns:a16="http://schemas.microsoft.com/office/drawing/2014/main" id="{3C825B91-73F7-4486-9D11-121AB391244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667813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9E472153-54A3-407C-9756-FCF994E1E544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701562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8A530F3D-1760-49E6-A9E1-92CD7450E6C5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3989432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24">
            <a:extLst>
              <a:ext uri="{FF2B5EF4-FFF2-40B4-BE49-F238E27FC236}">
                <a16:creationId xmlns:a16="http://schemas.microsoft.com/office/drawing/2014/main" id="{29542CDA-1E1E-4080-81BA-B8E2EA2556A3}"/>
              </a:ext>
            </a:extLst>
          </p:cNvPr>
          <p:cNvSpPr txBox="1"/>
          <p:nvPr/>
        </p:nvSpPr>
        <p:spPr>
          <a:xfrm>
            <a:off x="3060057" y="2058204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4172610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9B845376-9119-4355-8668-282C007A2A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Kraj Vysočina</a:t>
            </a:r>
            <a:endParaRPr lang="cs-CZ" sz="1800" dirty="0">
              <a:latin typeface="+mj-lt"/>
            </a:endParaRP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D7D9ADF6-5DBD-4483-AAFE-8842DD9854B8}"/>
              </a:ext>
            </a:extLst>
          </p:cNvPr>
          <p:cNvGrpSpPr/>
          <p:nvPr/>
        </p:nvGrpSpPr>
        <p:grpSpPr>
          <a:xfrm>
            <a:off x="11015595" y="639500"/>
            <a:ext cx="1123991" cy="276446"/>
            <a:chOff x="12342906" y="6252118"/>
            <a:chExt cx="1866242" cy="459003"/>
          </a:xfrm>
        </p:grpSpPr>
        <p:pic>
          <p:nvPicPr>
            <p:cNvPr id="26" name="Obrázek 25">
              <a:extLst>
                <a:ext uri="{FF2B5EF4-FFF2-40B4-BE49-F238E27FC236}">
                  <a16:creationId xmlns:a16="http://schemas.microsoft.com/office/drawing/2014/main" id="{B76C593F-6B08-4DD0-9D28-CE8103E5643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42906" y="6252118"/>
              <a:ext cx="402855" cy="459003"/>
            </a:xfrm>
            <a:prstGeom prst="rect">
              <a:avLst/>
            </a:prstGeom>
          </p:spPr>
        </p:pic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B3EFE3D1-6082-4E8D-A87F-D884B09545F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55762" y="6252118"/>
              <a:ext cx="1353386" cy="433584"/>
            </a:xfrm>
            <a:prstGeom prst="rect">
              <a:avLst/>
            </a:prstGeom>
          </p:spPr>
        </p:pic>
      </p:grpSp>
      <p:graphicFrame>
        <p:nvGraphicFramePr>
          <p:cNvPr id="28" name="Chart 4">
            <a:extLst>
              <a:ext uri="{FF2B5EF4-FFF2-40B4-BE49-F238E27FC236}">
                <a16:creationId xmlns:a16="http://schemas.microsoft.com/office/drawing/2014/main" id="{9692EC39-E635-43AF-88E9-3D3089A324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43411180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8E3BE1CD-41AB-44CF-AE5F-8CE04EDBC16D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98022AF5-7E87-4102-A520-0114F9C1C13E}"/>
              </a:ext>
            </a:extLst>
          </p:cNvPr>
          <p:cNvSpPr txBox="1"/>
          <p:nvPr/>
        </p:nvSpPr>
        <p:spPr>
          <a:xfrm>
            <a:off x="202606" y="1343042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F6441C6B-6B07-4DA3-92B2-D67553BF2704}"/>
              </a:ext>
            </a:extLst>
          </p:cNvPr>
          <p:cNvCxnSpPr>
            <a:cxnSpLocks/>
          </p:cNvCxnSpPr>
          <p:nvPr/>
        </p:nvCxnSpPr>
        <p:spPr>
          <a:xfrm flipV="1">
            <a:off x="2536182" y="1152445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4BA611D8-0B8E-4977-A3A8-20BE72894357}"/>
              </a:ext>
            </a:extLst>
          </p:cNvPr>
          <p:cNvCxnSpPr>
            <a:cxnSpLocks/>
          </p:cNvCxnSpPr>
          <p:nvPr/>
        </p:nvCxnSpPr>
        <p:spPr>
          <a:xfrm>
            <a:off x="2536182" y="1579247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AA1EA358-E567-49CE-A97D-E40C063D2835}"/>
              </a:ext>
            </a:extLst>
          </p:cNvPr>
          <p:cNvSpPr txBox="1"/>
          <p:nvPr/>
        </p:nvSpPr>
        <p:spPr>
          <a:xfrm>
            <a:off x="6162851" y="3592939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F53CF299-7E38-48CE-BAA2-EBCC15FB4636}"/>
              </a:ext>
            </a:extLst>
          </p:cNvPr>
          <p:cNvSpPr txBox="1"/>
          <p:nvPr/>
        </p:nvSpPr>
        <p:spPr>
          <a:xfrm>
            <a:off x="6154994" y="3864140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54B453C6-A03C-4561-9247-0242F0452A20}"/>
              </a:ext>
            </a:extLst>
          </p:cNvPr>
          <p:cNvSpPr/>
          <p:nvPr/>
        </p:nvSpPr>
        <p:spPr>
          <a:xfrm>
            <a:off x="5881605" y="3271102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1910F5F8-97B5-4AE7-9DAE-D3CDEA09E1E7}"/>
              </a:ext>
            </a:extLst>
          </p:cNvPr>
          <p:cNvSpPr txBox="1"/>
          <p:nvPr/>
        </p:nvSpPr>
        <p:spPr>
          <a:xfrm>
            <a:off x="6178785" y="3235334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13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D84ED947-D020-455B-A44F-26E8D9F0D6A8}"/>
              </a:ext>
            </a:extLst>
          </p:cNvPr>
          <p:cNvSpPr/>
          <p:nvPr/>
        </p:nvSpPr>
        <p:spPr>
          <a:xfrm>
            <a:off x="6178785" y="4160390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7" name="TextovéPole 29">
            <a:extLst>
              <a:ext uri="{FF2B5EF4-FFF2-40B4-BE49-F238E27FC236}">
                <a16:creationId xmlns:a16="http://schemas.microsoft.com/office/drawing/2014/main" id="{B6533EF1-D5CB-459F-B4D4-0E7B4C4C5EE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978184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ovéPole 30">
            <a:extLst>
              <a:ext uri="{FF2B5EF4-FFF2-40B4-BE49-F238E27FC236}">
                <a16:creationId xmlns:a16="http://schemas.microsoft.com/office/drawing/2014/main" id="{C5B14C45-FBDA-4ED4-9486-446FCADF0BC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713078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DF1932BD-E7BD-4BD7-9794-80FD8CFCFE3F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746827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8BC01E81-4A60-4657-AD27-210D2E2653CB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4034697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24">
            <a:extLst>
              <a:ext uri="{FF2B5EF4-FFF2-40B4-BE49-F238E27FC236}">
                <a16:creationId xmlns:a16="http://schemas.microsoft.com/office/drawing/2014/main" id="{547C6A1C-09C9-46C9-B5E4-DDA212D78C98}"/>
              </a:ext>
            </a:extLst>
          </p:cNvPr>
          <p:cNvSpPr txBox="1"/>
          <p:nvPr/>
        </p:nvSpPr>
        <p:spPr>
          <a:xfrm>
            <a:off x="3060057" y="2103469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38426785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6923191F-A725-4526-A9EA-790B1A2DDF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Jihomoravský kraj</a:t>
            </a:r>
            <a:endParaRPr lang="cs-CZ" sz="1800" dirty="0">
              <a:latin typeface="+mj-lt"/>
            </a:endParaRPr>
          </a:p>
        </p:txBody>
      </p:sp>
      <p:pic>
        <p:nvPicPr>
          <p:cNvPr id="25" name="Obrázek 9">
            <a:extLst>
              <a:ext uri="{FF2B5EF4-FFF2-40B4-BE49-F238E27FC236}">
                <a16:creationId xmlns:a16="http://schemas.microsoft.com/office/drawing/2014/main" id="{8E59C515-3C7E-49E8-A819-62C476AB386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1787" y="576002"/>
            <a:ext cx="1470213" cy="352072"/>
          </a:xfrm>
          <a:prstGeom prst="rect">
            <a:avLst/>
          </a:prstGeom>
        </p:spPr>
      </p:pic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6DDC9B35-4051-4E83-94B2-38AB401DBC2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37950162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F6DA183E-1377-498C-A339-741ABEBD55F4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1EB149F8-1C66-4B1D-9E19-4D6AE101F9B4}"/>
              </a:ext>
            </a:extLst>
          </p:cNvPr>
          <p:cNvSpPr txBox="1"/>
          <p:nvPr/>
        </p:nvSpPr>
        <p:spPr>
          <a:xfrm>
            <a:off x="202606" y="1252512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28" name="Přímá spojnice se šipkou 27">
            <a:extLst>
              <a:ext uri="{FF2B5EF4-FFF2-40B4-BE49-F238E27FC236}">
                <a16:creationId xmlns:a16="http://schemas.microsoft.com/office/drawing/2014/main" id="{14B87419-AECC-48BB-A32B-F276ED53A262}"/>
              </a:ext>
            </a:extLst>
          </p:cNvPr>
          <p:cNvCxnSpPr>
            <a:cxnSpLocks/>
          </p:cNvCxnSpPr>
          <p:nvPr/>
        </p:nvCxnSpPr>
        <p:spPr>
          <a:xfrm flipV="1">
            <a:off x="2536182" y="1061915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Přímá spojnice se šipkou 28">
            <a:extLst>
              <a:ext uri="{FF2B5EF4-FFF2-40B4-BE49-F238E27FC236}">
                <a16:creationId xmlns:a16="http://schemas.microsoft.com/office/drawing/2014/main" id="{1D8310D7-9A72-4D5B-9EAD-6D60E8DDE3EE}"/>
              </a:ext>
            </a:extLst>
          </p:cNvPr>
          <p:cNvCxnSpPr>
            <a:cxnSpLocks/>
          </p:cNvCxnSpPr>
          <p:nvPr/>
        </p:nvCxnSpPr>
        <p:spPr>
          <a:xfrm>
            <a:off x="2536182" y="1488717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906DFD00-377F-4836-B82F-AE5643ACEC5F}"/>
              </a:ext>
            </a:extLst>
          </p:cNvPr>
          <p:cNvSpPr txBox="1"/>
          <p:nvPr/>
        </p:nvSpPr>
        <p:spPr>
          <a:xfrm>
            <a:off x="6162851" y="3502409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C2801569-0A4A-4D91-AD30-12991D2F25B1}"/>
              </a:ext>
            </a:extLst>
          </p:cNvPr>
          <p:cNvSpPr txBox="1"/>
          <p:nvPr/>
        </p:nvSpPr>
        <p:spPr>
          <a:xfrm>
            <a:off x="6154994" y="3773610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931B25F8-8BAD-4E95-85F4-7FE1CABCEF66}"/>
              </a:ext>
            </a:extLst>
          </p:cNvPr>
          <p:cNvSpPr/>
          <p:nvPr/>
        </p:nvSpPr>
        <p:spPr>
          <a:xfrm>
            <a:off x="5881605" y="3180572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95FD5BE4-53C4-4D96-8759-91F26024D663}"/>
              </a:ext>
            </a:extLst>
          </p:cNvPr>
          <p:cNvSpPr txBox="1"/>
          <p:nvPr/>
        </p:nvSpPr>
        <p:spPr>
          <a:xfrm>
            <a:off x="6178785" y="3144804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13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5D895762-878B-40E0-ABBC-865001CEDA9C}"/>
              </a:ext>
            </a:extLst>
          </p:cNvPr>
          <p:cNvSpPr/>
          <p:nvPr/>
        </p:nvSpPr>
        <p:spPr>
          <a:xfrm>
            <a:off x="6178785" y="4069860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5" name="TextovéPole 29">
            <a:extLst>
              <a:ext uri="{FF2B5EF4-FFF2-40B4-BE49-F238E27FC236}">
                <a16:creationId xmlns:a16="http://schemas.microsoft.com/office/drawing/2014/main" id="{0BF01A08-2B76-49BA-B6A1-1F79B4BF67A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887654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6" name="TextovéPole 30">
            <a:extLst>
              <a:ext uri="{FF2B5EF4-FFF2-40B4-BE49-F238E27FC236}">
                <a16:creationId xmlns:a16="http://schemas.microsoft.com/office/drawing/2014/main" id="{BAB1F2F7-58F3-4B64-9741-231F0DE1CF8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622548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7" name="Přímá spojnice 36">
            <a:extLst>
              <a:ext uri="{FF2B5EF4-FFF2-40B4-BE49-F238E27FC236}">
                <a16:creationId xmlns:a16="http://schemas.microsoft.com/office/drawing/2014/main" id="{A13F2DD7-6344-45A5-979A-236AD2487B16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656297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Přímá spojnice 37">
            <a:extLst>
              <a:ext uri="{FF2B5EF4-FFF2-40B4-BE49-F238E27FC236}">
                <a16:creationId xmlns:a16="http://schemas.microsoft.com/office/drawing/2014/main" id="{892AA7C2-A52A-4123-8047-3F97CD4C95D5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3944167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ovéPole 24">
            <a:extLst>
              <a:ext uri="{FF2B5EF4-FFF2-40B4-BE49-F238E27FC236}">
                <a16:creationId xmlns:a16="http://schemas.microsoft.com/office/drawing/2014/main" id="{F10C25AC-1668-49ED-81AD-8501D35DFDD5}"/>
              </a:ext>
            </a:extLst>
          </p:cNvPr>
          <p:cNvSpPr txBox="1"/>
          <p:nvPr/>
        </p:nvSpPr>
        <p:spPr>
          <a:xfrm>
            <a:off x="3060057" y="2012939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36788080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8" name="Nadpis 1">
            <a:extLst>
              <a:ext uri="{FF2B5EF4-FFF2-40B4-BE49-F238E27FC236}">
                <a16:creationId xmlns:a16="http://schemas.microsoft.com/office/drawing/2014/main" id="{2BC1E44D-B314-446B-A10F-5BADF09F74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Olomoucký kraj</a:t>
            </a:r>
            <a:endParaRPr lang="cs-CZ" sz="1800" dirty="0">
              <a:latin typeface="+mj-lt"/>
            </a:endParaRP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C1FFBA30-C66A-4F6F-8904-8E6A4B043C79}"/>
              </a:ext>
            </a:extLst>
          </p:cNvPr>
          <p:cNvGrpSpPr/>
          <p:nvPr/>
        </p:nvGrpSpPr>
        <p:grpSpPr>
          <a:xfrm>
            <a:off x="11077811" y="576002"/>
            <a:ext cx="1063351" cy="297378"/>
            <a:chOff x="12381439" y="4241938"/>
            <a:chExt cx="2118964" cy="592592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E6B08D46-781E-4991-9AED-9BDF0D78AAD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381439" y="4338569"/>
              <a:ext cx="352232" cy="437330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80B39A76-DA09-49AC-97D9-291418ECA60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7614" b="9791"/>
            <a:stretch/>
          </p:blipFill>
          <p:spPr>
            <a:xfrm>
              <a:off x="12855762" y="4241938"/>
              <a:ext cx="1644641" cy="592592"/>
            </a:xfrm>
            <a:prstGeom prst="rect">
              <a:avLst/>
            </a:prstGeom>
          </p:spPr>
        </p:pic>
      </p:grpSp>
      <p:graphicFrame>
        <p:nvGraphicFramePr>
          <p:cNvPr id="32" name="Chart 4">
            <a:extLst>
              <a:ext uri="{FF2B5EF4-FFF2-40B4-BE49-F238E27FC236}">
                <a16:creationId xmlns:a16="http://schemas.microsoft.com/office/drawing/2014/main" id="{CE3A76D1-C766-4F3E-9836-45D7C096FFA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50606988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CF80EFF8-A2F5-454B-810B-317FC3825887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54ECBB82-1D13-490F-B01D-A04A95895C2E}"/>
              </a:ext>
            </a:extLst>
          </p:cNvPr>
          <p:cNvSpPr txBox="1"/>
          <p:nvPr/>
        </p:nvSpPr>
        <p:spPr>
          <a:xfrm>
            <a:off x="202606" y="1261566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C776D7BA-D534-40F6-A654-21B9C9D9A692}"/>
              </a:ext>
            </a:extLst>
          </p:cNvPr>
          <p:cNvCxnSpPr>
            <a:cxnSpLocks/>
          </p:cNvCxnSpPr>
          <p:nvPr/>
        </p:nvCxnSpPr>
        <p:spPr>
          <a:xfrm flipV="1">
            <a:off x="2536182" y="1070969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Přímá spojnice se šipkou 25">
            <a:extLst>
              <a:ext uri="{FF2B5EF4-FFF2-40B4-BE49-F238E27FC236}">
                <a16:creationId xmlns:a16="http://schemas.microsoft.com/office/drawing/2014/main" id="{61DA2C47-4224-4217-B2FF-A640C1DC7957}"/>
              </a:ext>
            </a:extLst>
          </p:cNvPr>
          <p:cNvCxnSpPr>
            <a:cxnSpLocks/>
          </p:cNvCxnSpPr>
          <p:nvPr/>
        </p:nvCxnSpPr>
        <p:spPr>
          <a:xfrm>
            <a:off x="2536182" y="1497771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E024E33E-6A50-47C4-9BE7-08CFCB43F6D8}"/>
              </a:ext>
            </a:extLst>
          </p:cNvPr>
          <p:cNvSpPr txBox="1"/>
          <p:nvPr/>
        </p:nvSpPr>
        <p:spPr>
          <a:xfrm>
            <a:off x="6162851" y="3511463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6806736B-C3D6-4461-A9BC-BC60F61BAA6A}"/>
              </a:ext>
            </a:extLst>
          </p:cNvPr>
          <p:cNvSpPr txBox="1"/>
          <p:nvPr/>
        </p:nvSpPr>
        <p:spPr>
          <a:xfrm>
            <a:off x="6154994" y="3782664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087A1959-CD08-47DB-B645-50A1A4A74E6D}"/>
              </a:ext>
            </a:extLst>
          </p:cNvPr>
          <p:cNvSpPr/>
          <p:nvPr/>
        </p:nvSpPr>
        <p:spPr>
          <a:xfrm>
            <a:off x="5881605" y="3189626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64F18216-1269-4DF2-B901-5EC72D6D467F}"/>
              </a:ext>
            </a:extLst>
          </p:cNvPr>
          <p:cNvSpPr txBox="1"/>
          <p:nvPr/>
        </p:nvSpPr>
        <p:spPr>
          <a:xfrm>
            <a:off x="6178785" y="3153858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13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5EE2529E-7D63-4AA4-A2FF-D180A0730784}"/>
              </a:ext>
            </a:extLst>
          </p:cNvPr>
          <p:cNvSpPr/>
          <p:nvPr/>
        </p:nvSpPr>
        <p:spPr>
          <a:xfrm>
            <a:off x="6178785" y="4078914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7" name="TextovéPole 29">
            <a:extLst>
              <a:ext uri="{FF2B5EF4-FFF2-40B4-BE49-F238E27FC236}">
                <a16:creationId xmlns:a16="http://schemas.microsoft.com/office/drawing/2014/main" id="{DB442DFE-3361-4571-AFEC-F70A7ABAC73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896708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ovéPole 30">
            <a:extLst>
              <a:ext uri="{FF2B5EF4-FFF2-40B4-BE49-F238E27FC236}">
                <a16:creationId xmlns:a16="http://schemas.microsoft.com/office/drawing/2014/main" id="{BCB53882-B0AD-474D-A21E-F6A56BBAD8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631602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E59055E9-02C8-4905-9FD1-3C2C77B7B692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665351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0763E73E-E9DB-4F66-83D6-AC5A22A4B27A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3953221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24">
            <a:extLst>
              <a:ext uri="{FF2B5EF4-FFF2-40B4-BE49-F238E27FC236}">
                <a16:creationId xmlns:a16="http://schemas.microsoft.com/office/drawing/2014/main" id="{CD6734CD-13C4-4409-B9B5-AF0D631AA6E5}"/>
              </a:ext>
            </a:extLst>
          </p:cNvPr>
          <p:cNvSpPr txBox="1"/>
          <p:nvPr/>
        </p:nvSpPr>
        <p:spPr>
          <a:xfrm>
            <a:off x="3060057" y="2021993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29562972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8" name="Nadpis 1">
            <a:extLst>
              <a:ext uri="{FF2B5EF4-FFF2-40B4-BE49-F238E27FC236}">
                <a16:creationId xmlns:a16="http://schemas.microsoft.com/office/drawing/2014/main" id="{3EAE69B9-9AAB-46B6-B178-F2C6905664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Zlínský kraj</a:t>
            </a:r>
            <a:endParaRPr lang="cs-CZ" sz="1800" dirty="0">
              <a:latin typeface="+mj-lt"/>
            </a:endParaRP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10C49078-8CA6-4BFE-A78D-F68A24CCBB9D}"/>
              </a:ext>
            </a:extLst>
          </p:cNvPr>
          <p:cNvGrpSpPr/>
          <p:nvPr/>
        </p:nvGrpSpPr>
        <p:grpSpPr>
          <a:xfrm>
            <a:off x="10732168" y="598017"/>
            <a:ext cx="1459832" cy="336698"/>
            <a:chOff x="12350220" y="6820895"/>
            <a:chExt cx="2317881" cy="534600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455ADD47-4062-4F41-A64E-D9658655ECB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50220" y="6820895"/>
              <a:ext cx="534600" cy="534600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020DD933-AFB9-43B1-A2EF-485089679F5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836" b="5966"/>
            <a:stretch/>
          </p:blipFill>
          <p:spPr>
            <a:xfrm>
              <a:off x="12927151" y="6867935"/>
              <a:ext cx="1740950" cy="433585"/>
            </a:xfrm>
            <a:prstGeom prst="rect">
              <a:avLst/>
            </a:prstGeom>
          </p:spPr>
        </p:pic>
      </p:grpSp>
      <p:graphicFrame>
        <p:nvGraphicFramePr>
          <p:cNvPr id="32" name="Chart 4">
            <a:extLst>
              <a:ext uri="{FF2B5EF4-FFF2-40B4-BE49-F238E27FC236}">
                <a16:creationId xmlns:a16="http://schemas.microsoft.com/office/drawing/2014/main" id="{FF25336C-09D6-4D26-83B7-5FB32BA393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84751762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D764EAB6-2DAC-46DF-A307-E40D2A7FCDB4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E30F1E2A-DA36-49FC-871E-13AEFCBCB2A5}"/>
              </a:ext>
            </a:extLst>
          </p:cNvPr>
          <p:cNvSpPr txBox="1"/>
          <p:nvPr/>
        </p:nvSpPr>
        <p:spPr>
          <a:xfrm>
            <a:off x="202606" y="1352102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EF5770BA-5BD6-429B-A7B2-8BCC046A9F00}"/>
              </a:ext>
            </a:extLst>
          </p:cNvPr>
          <p:cNvCxnSpPr>
            <a:cxnSpLocks/>
          </p:cNvCxnSpPr>
          <p:nvPr/>
        </p:nvCxnSpPr>
        <p:spPr>
          <a:xfrm flipV="1">
            <a:off x="2536182" y="1161505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Přímá spojnice se šipkou 25">
            <a:extLst>
              <a:ext uri="{FF2B5EF4-FFF2-40B4-BE49-F238E27FC236}">
                <a16:creationId xmlns:a16="http://schemas.microsoft.com/office/drawing/2014/main" id="{FC1288C2-3A36-420B-928B-1F0D4BB096A1}"/>
              </a:ext>
            </a:extLst>
          </p:cNvPr>
          <p:cNvCxnSpPr>
            <a:cxnSpLocks/>
          </p:cNvCxnSpPr>
          <p:nvPr/>
        </p:nvCxnSpPr>
        <p:spPr>
          <a:xfrm>
            <a:off x="2536182" y="1588307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DEB347C8-66CB-411B-871F-7678FEEAC66C}"/>
              </a:ext>
            </a:extLst>
          </p:cNvPr>
          <p:cNvSpPr txBox="1"/>
          <p:nvPr/>
        </p:nvSpPr>
        <p:spPr>
          <a:xfrm>
            <a:off x="6162851" y="3601999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55F4587B-415B-422B-ADFF-6530FA329A0B}"/>
              </a:ext>
            </a:extLst>
          </p:cNvPr>
          <p:cNvSpPr txBox="1"/>
          <p:nvPr/>
        </p:nvSpPr>
        <p:spPr>
          <a:xfrm>
            <a:off x="6154994" y="3873200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C0BC9E63-05FD-4595-935F-0501BD461D65}"/>
              </a:ext>
            </a:extLst>
          </p:cNvPr>
          <p:cNvSpPr/>
          <p:nvPr/>
        </p:nvSpPr>
        <p:spPr>
          <a:xfrm>
            <a:off x="5881605" y="3280162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ACECAEF1-BF24-4470-B3FA-802BB4FA3D00}"/>
              </a:ext>
            </a:extLst>
          </p:cNvPr>
          <p:cNvSpPr txBox="1"/>
          <p:nvPr/>
        </p:nvSpPr>
        <p:spPr>
          <a:xfrm>
            <a:off x="6178785" y="3244394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13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6A403B7C-CECF-407F-A5E3-A3FF04AA1866}"/>
              </a:ext>
            </a:extLst>
          </p:cNvPr>
          <p:cNvSpPr/>
          <p:nvPr/>
        </p:nvSpPr>
        <p:spPr>
          <a:xfrm>
            <a:off x="6178785" y="4169450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7" name="TextovéPole 29">
            <a:extLst>
              <a:ext uri="{FF2B5EF4-FFF2-40B4-BE49-F238E27FC236}">
                <a16:creationId xmlns:a16="http://schemas.microsoft.com/office/drawing/2014/main" id="{82A182C4-8DC6-42C5-B71A-4C0F47FCEBC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987244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ovéPole 30">
            <a:extLst>
              <a:ext uri="{FF2B5EF4-FFF2-40B4-BE49-F238E27FC236}">
                <a16:creationId xmlns:a16="http://schemas.microsoft.com/office/drawing/2014/main" id="{621C0289-5AAD-4AF3-87CA-BC99405A0B5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722138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69DFC0D4-3E5F-48DB-9993-DAF51C823457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755887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B771CF9F-E832-45DB-8DB6-772EA5B278B7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4043757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24">
            <a:extLst>
              <a:ext uri="{FF2B5EF4-FFF2-40B4-BE49-F238E27FC236}">
                <a16:creationId xmlns:a16="http://schemas.microsoft.com/office/drawing/2014/main" id="{F825AEEB-7716-42F1-972A-4E3563D1DA4C}"/>
              </a:ext>
            </a:extLst>
          </p:cNvPr>
          <p:cNvSpPr txBox="1"/>
          <p:nvPr/>
        </p:nvSpPr>
        <p:spPr>
          <a:xfrm>
            <a:off x="3060057" y="2112529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33774641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64" name="Obdélník 63">
            <a:extLst>
              <a:ext uri="{FF2B5EF4-FFF2-40B4-BE49-F238E27FC236}">
                <a16:creationId xmlns:a16="http://schemas.microsoft.com/office/drawing/2014/main" id="{FF9D4894-4AE1-4907-A2C1-EBC6B8B4E502}"/>
              </a:ext>
            </a:extLst>
          </p:cNvPr>
          <p:cNvSpPr/>
          <p:nvPr/>
        </p:nvSpPr>
        <p:spPr>
          <a:xfrm>
            <a:off x="19726" y="6304000"/>
            <a:ext cx="1217227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28" name="Nadpis 1">
            <a:extLst>
              <a:ext uri="{FF2B5EF4-FFF2-40B4-BE49-F238E27FC236}">
                <a16:creationId xmlns:a16="http://schemas.microsoft.com/office/drawing/2014/main" id="{3C168640-FF85-4065-8AB1-FEFF4FB1E7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Moravskoslezský kraj</a:t>
            </a:r>
            <a:endParaRPr lang="cs-CZ" sz="1800" dirty="0">
              <a:latin typeface="+mj-lt"/>
            </a:endParaRP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DA44C003-62F1-48D3-87F0-9E1D898616AA}"/>
              </a:ext>
            </a:extLst>
          </p:cNvPr>
          <p:cNvGrpSpPr/>
          <p:nvPr/>
        </p:nvGrpSpPr>
        <p:grpSpPr>
          <a:xfrm>
            <a:off x="10847672" y="616687"/>
            <a:ext cx="1260195" cy="293736"/>
            <a:chOff x="12375318" y="3580090"/>
            <a:chExt cx="2065512" cy="481446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B3FEC952-162F-4962-B436-138D2E6108F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375318" y="3607454"/>
              <a:ext cx="369831" cy="454082"/>
            </a:xfrm>
            <a:prstGeom prst="rect">
              <a:avLst/>
            </a:prstGeom>
          </p:spPr>
        </p:pic>
        <p:pic>
          <p:nvPicPr>
            <p:cNvPr id="31" name="Picture 2" descr="logo MoravskoslezskÃ½ kraj">
              <a:extLst>
                <a:ext uri="{FF2B5EF4-FFF2-40B4-BE49-F238E27FC236}">
                  <a16:creationId xmlns:a16="http://schemas.microsoft.com/office/drawing/2014/main" id="{82DB1D67-0BCA-4FF6-A1A8-C30584DC4B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855762" y="3580090"/>
              <a:ext cx="1585068" cy="4814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aphicFrame>
        <p:nvGraphicFramePr>
          <p:cNvPr id="32" name="Chart 4">
            <a:extLst>
              <a:ext uri="{FF2B5EF4-FFF2-40B4-BE49-F238E27FC236}">
                <a16:creationId xmlns:a16="http://schemas.microsoft.com/office/drawing/2014/main" id="{EE4AA7C0-337C-4E11-9E88-17037A362B9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06561130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TextovéPole 21">
            <a:extLst>
              <a:ext uri="{FF2B5EF4-FFF2-40B4-BE49-F238E27FC236}">
                <a16:creationId xmlns:a16="http://schemas.microsoft.com/office/drawing/2014/main" id="{CF45F861-7CAE-44E6-B401-C294BE42A867}"/>
              </a:ext>
            </a:extLst>
          </p:cNvPr>
          <p:cNvSpPr txBox="1"/>
          <p:nvPr/>
        </p:nvSpPr>
        <p:spPr>
          <a:xfrm>
            <a:off x="202606" y="1343043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6099980D-2F38-44B5-B317-B19EEDD96D92}"/>
              </a:ext>
            </a:extLst>
          </p:cNvPr>
          <p:cNvCxnSpPr>
            <a:cxnSpLocks/>
          </p:cNvCxnSpPr>
          <p:nvPr/>
        </p:nvCxnSpPr>
        <p:spPr>
          <a:xfrm flipV="1">
            <a:off x="2536182" y="1152446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F9663B53-6DD9-4FF0-93EF-559FD8357A48}"/>
              </a:ext>
            </a:extLst>
          </p:cNvPr>
          <p:cNvCxnSpPr>
            <a:cxnSpLocks/>
          </p:cNvCxnSpPr>
          <p:nvPr/>
        </p:nvCxnSpPr>
        <p:spPr>
          <a:xfrm>
            <a:off x="2536182" y="1579248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50DABE35-1D66-4931-8328-6916FC060F64}"/>
              </a:ext>
            </a:extLst>
          </p:cNvPr>
          <p:cNvSpPr txBox="1"/>
          <p:nvPr/>
        </p:nvSpPr>
        <p:spPr>
          <a:xfrm>
            <a:off x="6162851" y="3592940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DF194FA3-3A2D-4360-8B2E-B4CB0590E8D5}"/>
              </a:ext>
            </a:extLst>
          </p:cNvPr>
          <p:cNvSpPr txBox="1"/>
          <p:nvPr/>
        </p:nvSpPr>
        <p:spPr>
          <a:xfrm>
            <a:off x="6154994" y="3864141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3" name="Obdélník 32">
            <a:extLst>
              <a:ext uri="{FF2B5EF4-FFF2-40B4-BE49-F238E27FC236}">
                <a16:creationId xmlns:a16="http://schemas.microsoft.com/office/drawing/2014/main" id="{FBA225FC-D9A9-4C46-9835-6365314231FB}"/>
              </a:ext>
            </a:extLst>
          </p:cNvPr>
          <p:cNvSpPr/>
          <p:nvPr/>
        </p:nvSpPr>
        <p:spPr>
          <a:xfrm>
            <a:off x="5881605" y="3271103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D8AAFE41-71CC-461F-A5BA-DCC75BF2D8D4}"/>
              </a:ext>
            </a:extLst>
          </p:cNvPr>
          <p:cNvSpPr txBox="1"/>
          <p:nvPr/>
        </p:nvSpPr>
        <p:spPr>
          <a:xfrm>
            <a:off x="6178785" y="3235335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13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563950C9-331B-4A73-8D45-5E72105CD52E}"/>
              </a:ext>
            </a:extLst>
          </p:cNvPr>
          <p:cNvSpPr/>
          <p:nvPr/>
        </p:nvSpPr>
        <p:spPr>
          <a:xfrm>
            <a:off x="6178785" y="4160391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6" name="TextovéPole 29">
            <a:extLst>
              <a:ext uri="{FF2B5EF4-FFF2-40B4-BE49-F238E27FC236}">
                <a16:creationId xmlns:a16="http://schemas.microsoft.com/office/drawing/2014/main" id="{F8024E4C-760C-4568-ADDD-2A716C2E536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978185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7" name="TextovéPole 30">
            <a:extLst>
              <a:ext uri="{FF2B5EF4-FFF2-40B4-BE49-F238E27FC236}">
                <a16:creationId xmlns:a16="http://schemas.microsoft.com/office/drawing/2014/main" id="{B073EADE-81CB-4E6D-81FC-E4FC6071ABF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713079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8" name="Přímá spojnice 37">
            <a:extLst>
              <a:ext uri="{FF2B5EF4-FFF2-40B4-BE49-F238E27FC236}">
                <a16:creationId xmlns:a16="http://schemas.microsoft.com/office/drawing/2014/main" id="{B1755D6C-E315-41FD-BDE3-8DBA6ED7803E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746828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B62B6E76-A090-477B-9F05-DE0144ED5199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4034698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ovéPole 24">
            <a:extLst>
              <a:ext uri="{FF2B5EF4-FFF2-40B4-BE49-F238E27FC236}">
                <a16:creationId xmlns:a16="http://schemas.microsoft.com/office/drawing/2014/main" id="{132A8977-F950-4316-AE66-7940C950564C}"/>
              </a:ext>
            </a:extLst>
          </p:cNvPr>
          <p:cNvSpPr txBox="1"/>
          <p:nvPr/>
        </p:nvSpPr>
        <p:spPr>
          <a:xfrm>
            <a:off x="3060057" y="2103470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12188887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FFFEC489-9795-4E1E-9719-513139DAB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  <a:t>Nové scénáře pro dlouhodobé simulace zahrnující efekt vakcinace </a:t>
            </a:r>
          </a:p>
        </p:txBody>
      </p:sp>
      <p:sp>
        <p:nvSpPr>
          <p:cNvPr id="7" name="Zástupný obsah 3">
            <a:extLst>
              <a:ext uri="{FF2B5EF4-FFF2-40B4-BE49-F238E27FC236}">
                <a16:creationId xmlns:a16="http://schemas.microsoft.com/office/drawing/2014/main" id="{0D560AAE-4E15-4CF5-A76C-2680DC9E6E52}"/>
              </a:ext>
            </a:extLst>
          </p:cNvPr>
          <p:cNvSpPr txBox="1">
            <a:spLocks/>
          </p:cNvSpPr>
          <p:nvPr/>
        </p:nvSpPr>
        <p:spPr>
          <a:xfrm>
            <a:off x="278046" y="1470305"/>
            <a:ext cx="11156668" cy="43477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vé scénáře dlouhodobých simulací z 12. 5. 202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časný vývoj odpovídá ve všech typech aplikovaných modelů optimistickému scénáři, který předpokládal brždění epidemie posílené o rychlý efekt postupující vakcinac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mulační modely byly nově rozšířeny i na měsíc červen. Vytvořeny byly dvě varianty: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énář I. 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kračující brždění epidemie, bez projevu rozvolnění v dubnu/květnu, zahrnutí vlivu očkování (rychlý scénář, imunita od první dávky)</a:t>
            </a:r>
          </a:p>
          <a:p>
            <a:pPr marL="914400" marR="0" lvl="1" indent="-4572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+mj-lt"/>
              <a:buAutoNum type="arabicPeriod"/>
              <a:tabLst/>
              <a:defRPr/>
            </a:pPr>
            <a:endParaRPr kumimoji="0" lang="cs-CZ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énář II. 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tenciální rizikový dopad rozvolnění v květnu, avšak i zde se zahrnutím vlivu očkování (rychlý scénář, imunita od první dávky)</a:t>
            </a:r>
          </a:p>
        </p:txBody>
      </p:sp>
    </p:spTree>
    <p:extLst>
      <p:ext uri="{BB962C8B-B14F-4D97-AF65-F5344CB8AC3E}">
        <p14:creationId xmlns:p14="http://schemas.microsoft.com/office/powerpoint/2010/main" val="18583001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/>
              <a:t>Scénáře dlouhodobých simulací z 12. 5. 2021</a:t>
            </a:r>
            <a:endParaRPr lang="cs-CZ" sz="2400" dirty="0">
              <a:latin typeface="+mj-lt"/>
            </a:endParaRP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64" name="Obdélník 63">
            <a:extLst>
              <a:ext uri="{FF2B5EF4-FFF2-40B4-BE49-F238E27FC236}">
                <a16:creationId xmlns:a16="http://schemas.microsoft.com/office/drawing/2014/main" id="{FF9D4894-4AE1-4907-A2C1-EBC6B8B4E502}"/>
              </a:ext>
            </a:extLst>
          </p:cNvPr>
          <p:cNvSpPr/>
          <p:nvPr/>
        </p:nvSpPr>
        <p:spPr>
          <a:xfrm>
            <a:off x="19726" y="6304000"/>
            <a:ext cx="1217227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22" name="Chart 4">
            <a:extLst>
              <a:ext uri="{FF2B5EF4-FFF2-40B4-BE49-F238E27FC236}">
                <a16:creationId xmlns:a16="http://schemas.microsoft.com/office/drawing/2014/main" id="{9B1BD1AE-205E-4A95-9502-00A2C9A5CFA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3952959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378FF615-A4F0-4CEE-9B65-55CD56CD5F39}"/>
              </a:ext>
            </a:extLst>
          </p:cNvPr>
          <p:cNvCxnSpPr>
            <a:cxnSpLocks/>
          </p:cNvCxnSpPr>
          <p:nvPr/>
        </p:nvCxnSpPr>
        <p:spPr>
          <a:xfrm flipV="1">
            <a:off x="2536182" y="989491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A6208E5E-A268-40D6-B21A-8CE85C4D8725}"/>
              </a:ext>
            </a:extLst>
          </p:cNvPr>
          <p:cNvCxnSpPr>
            <a:cxnSpLocks/>
          </p:cNvCxnSpPr>
          <p:nvPr/>
        </p:nvCxnSpPr>
        <p:spPr>
          <a:xfrm>
            <a:off x="2536182" y="1416293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E84F974F-880E-43ED-B8DA-42DCE16F5B23}"/>
              </a:ext>
            </a:extLst>
          </p:cNvPr>
          <p:cNvSpPr txBox="1"/>
          <p:nvPr/>
        </p:nvSpPr>
        <p:spPr>
          <a:xfrm>
            <a:off x="6162851" y="3429985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63582B17-F054-46FE-81FD-B82BC9DA295F}"/>
              </a:ext>
            </a:extLst>
          </p:cNvPr>
          <p:cNvSpPr txBox="1"/>
          <p:nvPr/>
        </p:nvSpPr>
        <p:spPr>
          <a:xfrm>
            <a:off x="6154994" y="3701186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28" name="Obdélník 27">
            <a:extLst>
              <a:ext uri="{FF2B5EF4-FFF2-40B4-BE49-F238E27FC236}">
                <a16:creationId xmlns:a16="http://schemas.microsoft.com/office/drawing/2014/main" id="{109ED50E-B068-4B7D-9B7F-8933739C1DA5}"/>
              </a:ext>
            </a:extLst>
          </p:cNvPr>
          <p:cNvSpPr/>
          <p:nvPr/>
        </p:nvSpPr>
        <p:spPr>
          <a:xfrm>
            <a:off x="5881605" y="3108148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07FBEB10-7683-48E3-ADD7-E5DC63694ADB}"/>
              </a:ext>
            </a:extLst>
          </p:cNvPr>
          <p:cNvSpPr txBox="1"/>
          <p:nvPr/>
        </p:nvSpPr>
        <p:spPr>
          <a:xfrm>
            <a:off x="6178785" y="3072380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13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881144BF-6CF0-49C6-9C93-EEC0DB040713}"/>
              </a:ext>
            </a:extLst>
          </p:cNvPr>
          <p:cNvSpPr/>
          <p:nvPr/>
        </p:nvSpPr>
        <p:spPr>
          <a:xfrm>
            <a:off x="6178785" y="3997436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1" name="TextovéPole 29">
            <a:extLst>
              <a:ext uri="{FF2B5EF4-FFF2-40B4-BE49-F238E27FC236}">
                <a16:creationId xmlns:a16="http://schemas.microsoft.com/office/drawing/2014/main" id="{60B8A1EF-4CDA-49D1-BFF3-49A9A3B1C11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815230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2" name="TextovéPole 30">
            <a:extLst>
              <a:ext uri="{FF2B5EF4-FFF2-40B4-BE49-F238E27FC236}">
                <a16:creationId xmlns:a16="http://schemas.microsoft.com/office/drawing/2014/main" id="{CACD5FB8-6C79-45B7-9442-A650829B2FB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550124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3" name="Přímá spojnice 32">
            <a:extLst>
              <a:ext uri="{FF2B5EF4-FFF2-40B4-BE49-F238E27FC236}">
                <a16:creationId xmlns:a16="http://schemas.microsoft.com/office/drawing/2014/main" id="{8AB90F15-D859-414F-AE2F-5BA294664713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583873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Přímá spojnice 33">
            <a:extLst>
              <a:ext uri="{FF2B5EF4-FFF2-40B4-BE49-F238E27FC236}">
                <a16:creationId xmlns:a16="http://schemas.microsoft.com/office/drawing/2014/main" id="{0D5AB2B9-C37E-4268-B88B-3C49E098E218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3871743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24">
            <a:extLst>
              <a:ext uri="{FF2B5EF4-FFF2-40B4-BE49-F238E27FC236}">
                <a16:creationId xmlns:a16="http://schemas.microsoft.com/office/drawing/2014/main" id="{219CD013-4DB7-411F-BCE6-F9E4FBC7FA02}"/>
              </a:ext>
            </a:extLst>
          </p:cNvPr>
          <p:cNvSpPr txBox="1"/>
          <p:nvPr/>
        </p:nvSpPr>
        <p:spPr>
          <a:xfrm>
            <a:off x="3060057" y="1940515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32769191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Stav a vývoj epidemie COVID-19 </a:t>
            </a:r>
            <a:br>
              <a:rPr lang="cs-CZ" dirty="0"/>
            </a:br>
            <a:r>
              <a:rPr lang="cs-CZ" dirty="0"/>
              <a:t>v dostupných datech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04925" y="3693109"/>
            <a:ext cx="9867900" cy="2250491"/>
          </a:xfrm>
        </p:spPr>
        <p:txBody>
          <a:bodyPr>
            <a:normAutofit/>
          </a:bodyPr>
          <a:lstStyle/>
          <a:p>
            <a:r>
              <a:rPr lang="cs-CZ" sz="4800" b="1" dirty="0"/>
              <a:t>Dlouhodobé populační simulace pro jednotlivé regiony</a:t>
            </a:r>
            <a:endParaRPr lang="en-US" sz="4800" b="1" dirty="0"/>
          </a:p>
        </p:txBody>
      </p:sp>
    </p:spTree>
    <p:extLst>
      <p:ext uri="{BB962C8B-B14F-4D97-AF65-F5344CB8AC3E}">
        <p14:creationId xmlns:p14="http://schemas.microsoft.com/office/powerpoint/2010/main" val="38347151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202608" y="1379794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64" name="Obdélník 63">
            <a:extLst>
              <a:ext uri="{FF2B5EF4-FFF2-40B4-BE49-F238E27FC236}">
                <a16:creationId xmlns:a16="http://schemas.microsoft.com/office/drawing/2014/main" id="{FF9D4894-4AE1-4907-A2C1-EBC6B8B4E50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5" name="Nadpis 1">
            <a:extLst>
              <a:ext uri="{FF2B5EF4-FFF2-40B4-BE49-F238E27FC236}">
                <a16:creationId xmlns:a16="http://schemas.microsoft.com/office/drawing/2014/main" id="{76F1A76F-6AD5-4C1E-B621-24B8A4EA1F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Praha</a:t>
            </a:r>
            <a:endParaRPr lang="cs-CZ" sz="1800" dirty="0">
              <a:latin typeface="+mj-lt"/>
            </a:endParaRPr>
          </a:p>
        </p:txBody>
      </p:sp>
      <p:pic>
        <p:nvPicPr>
          <p:cNvPr id="26" name="Obrázek 25">
            <a:extLst>
              <a:ext uri="{FF2B5EF4-FFF2-40B4-BE49-F238E27FC236}">
                <a16:creationId xmlns:a16="http://schemas.microsoft.com/office/drawing/2014/main" id="{16ACDA2C-9763-4A55-AEAC-0CAC9A312C5F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6542" y="634041"/>
            <a:ext cx="369332" cy="369332"/>
          </a:xfrm>
          <a:prstGeom prst="rect">
            <a:avLst/>
          </a:prstGeom>
        </p:spPr>
      </p:pic>
      <p:graphicFrame>
        <p:nvGraphicFramePr>
          <p:cNvPr id="27" name="Chart 4">
            <a:extLst>
              <a:ext uri="{FF2B5EF4-FFF2-40B4-BE49-F238E27FC236}">
                <a16:creationId xmlns:a16="http://schemas.microsoft.com/office/drawing/2014/main" id="{CB77C502-1223-4FA2-BDD3-FFA1E39496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31307310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cxnSp>
        <p:nvCxnSpPr>
          <p:cNvPr id="22" name="Přímá spojnice se šipkou 21">
            <a:extLst>
              <a:ext uri="{FF2B5EF4-FFF2-40B4-BE49-F238E27FC236}">
                <a16:creationId xmlns:a16="http://schemas.microsoft.com/office/drawing/2014/main" id="{1CD6300E-909F-42CF-ADB3-52AAA3A48540}"/>
              </a:ext>
            </a:extLst>
          </p:cNvPr>
          <p:cNvCxnSpPr>
            <a:cxnSpLocks/>
          </p:cNvCxnSpPr>
          <p:nvPr/>
        </p:nvCxnSpPr>
        <p:spPr>
          <a:xfrm flipV="1">
            <a:off x="2536182" y="1242978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B14F7EB7-9A91-42F3-BF41-2EA11D4A3B09}"/>
              </a:ext>
            </a:extLst>
          </p:cNvPr>
          <p:cNvCxnSpPr>
            <a:cxnSpLocks/>
          </p:cNvCxnSpPr>
          <p:nvPr/>
        </p:nvCxnSpPr>
        <p:spPr>
          <a:xfrm>
            <a:off x="2536182" y="1669780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13BE5981-C118-45D5-8624-24297FBDEF0C}"/>
              </a:ext>
            </a:extLst>
          </p:cNvPr>
          <p:cNvSpPr txBox="1"/>
          <p:nvPr/>
        </p:nvSpPr>
        <p:spPr>
          <a:xfrm>
            <a:off x="6162851" y="3683472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DD919EBE-7D12-4D97-A3DB-EC6680FC6325}"/>
              </a:ext>
            </a:extLst>
          </p:cNvPr>
          <p:cNvSpPr txBox="1"/>
          <p:nvPr/>
        </p:nvSpPr>
        <p:spPr>
          <a:xfrm>
            <a:off x="6154994" y="3954673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B9BFEFC8-15EB-4CF7-B072-117C35D4A353}"/>
              </a:ext>
            </a:extLst>
          </p:cNvPr>
          <p:cNvSpPr/>
          <p:nvPr/>
        </p:nvSpPr>
        <p:spPr>
          <a:xfrm>
            <a:off x="5881605" y="3361635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35B8FEEF-3015-47BB-998F-9D154880B6D6}"/>
              </a:ext>
            </a:extLst>
          </p:cNvPr>
          <p:cNvSpPr txBox="1"/>
          <p:nvPr/>
        </p:nvSpPr>
        <p:spPr>
          <a:xfrm>
            <a:off x="6178785" y="3325867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13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E152D4CA-1254-4674-BF3B-F70F1F861541}"/>
              </a:ext>
            </a:extLst>
          </p:cNvPr>
          <p:cNvSpPr/>
          <p:nvPr/>
        </p:nvSpPr>
        <p:spPr>
          <a:xfrm>
            <a:off x="6178785" y="4250923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3" name="TextovéPole 29">
            <a:extLst>
              <a:ext uri="{FF2B5EF4-FFF2-40B4-BE49-F238E27FC236}">
                <a16:creationId xmlns:a16="http://schemas.microsoft.com/office/drawing/2014/main" id="{D359588C-5396-46BA-97DB-083B242995A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1068717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4" name="TextovéPole 30">
            <a:extLst>
              <a:ext uri="{FF2B5EF4-FFF2-40B4-BE49-F238E27FC236}">
                <a16:creationId xmlns:a16="http://schemas.microsoft.com/office/drawing/2014/main" id="{991C440C-B771-4A4C-B85E-799BCEAAFF0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803611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5" name="Přímá spojnice 34">
            <a:extLst>
              <a:ext uri="{FF2B5EF4-FFF2-40B4-BE49-F238E27FC236}">
                <a16:creationId xmlns:a16="http://schemas.microsoft.com/office/drawing/2014/main" id="{81A46C9F-3C1C-46E8-9379-6319AD0D1D29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837360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Přímá spojnice 35">
            <a:extLst>
              <a:ext uri="{FF2B5EF4-FFF2-40B4-BE49-F238E27FC236}">
                <a16:creationId xmlns:a16="http://schemas.microsoft.com/office/drawing/2014/main" id="{D9406C6B-F491-4E94-98ED-8486C481239C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4125230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ovéPole 24">
            <a:extLst>
              <a:ext uri="{FF2B5EF4-FFF2-40B4-BE49-F238E27FC236}">
                <a16:creationId xmlns:a16="http://schemas.microsoft.com/office/drawing/2014/main" id="{F505BCCA-E127-4902-8ECF-E4704E5EB90E}"/>
              </a:ext>
            </a:extLst>
          </p:cNvPr>
          <p:cNvSpPr txBox="1"/>
          <p:nvPr/>
        </p:nvSpPr>
        <p:spPr>
          <a:xfrm>
            <a:off x="3060057" y="2194002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27329709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8" name="Nadpis 1">
            <a:extLst>
              <a:ext uri="{FF2B5EF4-FFF2-40B4-BE49-F238E27FC236}">
                <a16:creationId xmlns:a16="http://schemas.microsoft.com/office/drawing/2014/main" id="{A6D9CFD0-E987-4487-BA01-8D0B0AD45D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Středočeský kraj</a:t>
            </a:r>
            <a:endParaRPr lang="cs-CZ" sz="1800" dirty="0">
              <a:latin typeface="+mj-lt"/>
            </a:endParaRP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A3885539-0FE7-42AD-86C6-6CB849AC17DF}"/>
              </a:ext>
            </a:extLst>
          </p:cNvPr>
          <p:cNvGrpSpPr/>
          <p:nvPr/>
        </p:nvGrpSpPr>
        <p:grpSpPr>
          <a:xfrm>
            <a:off x="10773218" y="609719"/>
            <a:ext cx="1327377" cy="214078"/>
            <a:chOff x="12334307" y="6375531"/>
            <a:chExt cx="2716628" cy="438135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704E2C6C-0B78-40C0-8615-481C0E7B1A4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334307" y="6375531"/>
              <a:ext cx="338328" cy="438135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8C8EFD5F-69BF-4383-8D31-917F23EA5EE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07607" y="6385202"/>
              <a:ext cx="2243328" cy="396240"/>
            </a:xfrm>
            <a:prstGeom prst="rect">
              <a:avLst/>
            </a:prstGeom>
          </p:spPr>
        </p:pic>
      </p:grpSp>
      <p:graphicFrame>
        <p:nvGraphicFramePr>
          <p:cNvPr id="32" name="Chart 4">
            <a:extLst>
              <a:ext uri="{FF2B5EF4-FFF2-40B4-BE49-F238E27FC236}">
                <a16:creationId xmlns:a16="http://schemas.microsoft.com/office/drawing/2014/main" id="{085E892B-BAF8-42C3-8EFA-99DF3D4F94C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29472134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EA7B4FF6-5273-4AE1-9249-D98F75956546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B1B7ED22-0C72-40D8-8F59-DB8DEF0EC02B}"/>
              </a:ext>
            </a:extLst>
          </p:cNvPr>
          <p:cNvSpPr txBox="1"/>
          <p:nvPr/>
        </p:nvSpPr>
        <p:spPr>
          <a:xfrm>
            <a:off x="202606" y="1225353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6C81349B-7843-4699-9E0A-16ACED4B9925}"/>
              </a:ext>
            </a:extLst>
          </p:cNvPr>
          <p:cNvCxnSpPr>
            <a:cxnSpLocks/>
          </p:cNvCxnSpPr>
          <p:nvPr/>
        </p:nvCxnSpPr>
        <p:spPr>
          <a:xfrm flipV="1">
            <a:off x="2536182" y="1034756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Přímá spojnice se šipkou 25">
            <a:extLst>
              <a:ext uri="{FF2B5EF4-FFF2-40B4-BE49-F238E27FC236}">
                <a16:creationId xmlns:a16="http://schemas.microsoft.com/office/drawing/2014/main" id="{5B503073-BA8B-4A86-91E6-C19060079840}"/>
              </a:ext>
            </a:extLst>
          </p:cNvPr>
          <p:cNvCxnSpPr>
            <a:cxnSpLocks/>
          </p:cNvCxnSpPr>
          <p:nvPr/>
        </p:nvCxnSpPr>
        <p:spPr>
          <a:xfrm>
            <a:off x="2536182" y="1461558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3B49C2F6-4409-413E-A321-DB3F9F33C112}"/>
              </a:ext>
            </a:extLst>
          </p:cNvPr>
          <p:cNvSpPr txBox="1"/>
          <p:nvPr/>
        </p:nvSpPr>
        <p:spPr>
          <a:xfrm>
            <a:off x="6162851" y="3475250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00CECEA5-8457-475B-AD34-824E0EE818FC}"/>
              </a:ext>
            </a:extLst>
          </p:cNvPr>
          <p:cNvSpPr txBox="1"/>
          <p:nvPr/>
        </p:nvSpPr>
        <p:spPr>
          <a:xfrm>
            <a:off x="6154994" y="3746451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ADD576A9-FC95-4AB3-8DEF-A3B23C2BABF7}"/>
              </a:ext>
            </a:extLst>
          </p:cNvPr>
          <p:cNvSpPr/>
          <p:nvPr/>
        </p:nvSpPr>
        <p:spPr>
          <a:xfrm>
            <a:off x="5881605" y="3153413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C0EBBBC5-4AD2-4D53-B945-BB8EE6BC8804}"/>
              </a:ext>
            </a:extLst>
          </p:cNvPr>
          <p:cNvSpPr txBox="1"/>
          <p:nvPr/>
        </p:nvSpPr>
        <p:spPr>
          <a:xfrm>
            <a:off x="6178785" y="3117645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13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2F9C649A-A32E-492D-A569-C66994F26ECB}"/>
              </a:ext>
            </a:extLst>
          </p:cNvPr>
          <p:cNvSpPr/>
          <p:nvPr/>
        </p:nvSpPr>
        <p:spPr>
          <a:xfrm>
            <a:off x="6178785" y="4042701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7" name="TextovéPole 29">
            <a:extLst>
              <a:ext uri="{FF2B5EF4-FFF2-40B4-BE49-F238E27FC236}">
                <a16:creationId xmlns:a16="http://schemas.microsoft.com/office/drawing/2014/main" id="{9F13DB27-67D7-4F4B-A8BC-366B684A76B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860495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ovéPole 30">
            <a:extLst>
              <a:ext uri="{FF2B5EF4-FFF2-40B4-BE49-F238E27FC236}">
                <a16:creationId xmlns:a16="http://schemas.microsoft.com/office/drawing/2014/main" id="{FCECD5B9-0352-4F32-BE8B-80F0DED0A39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595389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76CE5836-994A-486F-BF6E-CB6089C29FCA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629138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8F302139-1864-4C42-B3CC-5F3AC6BB5E91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3917008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24">
            <a:extLst>
              <a:ext uri="{FF2B5EF4-FFF2-40B4-BE49-F238E27FC236}">
                <a16:creationId xmlns:a16="http://schemas.microsoft.com/office/drawing/2014/main" id="{C37A7AC8-DB72-4B6D-9032-D2D7094D78AB}"/>
              </a:ext>
            </a:extLst>
          </p:cNvPr>
          <p:cNvSpPr txBox="1"/>
          <p:nvPr/>
        </p:nvSpPr>
        <p:spPr>
          <a:xfrm>
            <a:off x="3060057" y="1985780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29782077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21F65236-52B4-499D-B112-B4BE47E73A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Jihočeský kraj</a:t>
            </a:r>
            <a:endParaRPr lang="cs-CZ" sz="1800" dirty="0">
              <a:latin typeface="+mj-lt"/>
            </a:endParaRP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2E1B6BEA-C410-4262-BCBF-C07810D50B32}"/>
              </a:ext>
            </a:extLst>
          </p:cNvPr>
          <p:cNvGrpSpPr/>
          <p:nvPr/>
        </p:nvGrpSpPr>
        <p:grpSpPr>
          <a:xfrm>
            <a:off x="11226729" y="603793"/>
            <a:ext cx="933372" cy="306063"/>
            <a:chOff x="12375318" y="1202167"/>
            <a:chExt cx="1654215" cy="542435"/>
          </a:xfrm>
        </p:grpSpPr>
        <p:pic>
          <p:nvPicPr>
            <p:cNvPr id="26" name="Obrázek 25">
              <a:extLst>
                <a:ext uri="{FF2B5EF4-FFF2-40B4-BE49-F238E27FC236}">
                  <a16:creationId xmlns:a16="http://schemas.microsoft.com/office/drawing/2014/main" id="{DA8F3E85-6774-4FB9-9508-0DECEF2AC1F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375318" y="1275248"/>
              <a:ext cx="371898" cy="447173"/>
            </a:xfrm>
            <a:prstGeom prst="rect">
              <a:avLst/>
            </a:prstGeom>
          </p:spPr>
        </p:pic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922E8573-BF3D-4EBA-A731-F94DB2706D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2760" t="24183" b="15901"/>
            <a:stretch/>
          </p:blipFill>
          <p:spPr>
            <a:xfrm>
              <a:off x="12855762" y="1202167"/>
              <a:ext cx="1173771" cy="542435"/>
            </a:xfrm>
            <a:prstGeom prst="rect">
              <a:avLst/>
            </a:prstGeom>
          </p:spPr>
        </p:pic>
      </p:grpSp>
      <p:graphicFrame>
        <p:nvGraphicFramePr>
          <p:cNvPr id="28" name="Chart 4">
            <a:extLst>
              <a:ext uri="{FF2B5EF4-FFF2-40B4-BE49-F238E27FC236}">
                <a16:creationId xmlns:a16="http://schemas.microsoft.com/office/drawing/2014/main" id="{E3886436-C1E6-4CA3-930E-A986993A123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5336480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A6381C91-9D81-4362-B46B-1ACD2E0BD46C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FB0BCCD0-C71A-4259-8673-5DB45780F920}"/>
              </a:ext>
            </a:extLst>
          </p:cNvPr>
          <p:cNvSpPr txBox="1"/>
          <p:nvPr/>
        </p:nvSpPr>
        <p:spPr>
          <a:xfrm>
            <a:off x="202606" y="1288724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8C467376-4947-42FC-87F8-5749529E1A0E}"/>
              </a:ext>
            </a:extLst>
          </p:cNvPr>
          <p:cNvCxnSpPr>
            <a:cxnSpLocks/>
          </p:cNvCxnSpPr>
          <p:nvPr/>
        </p:nvCxnSpPr>
        <p:spPr>
          <a:xfrm flipV="1">
            <a:off x="2536182" y="109812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CBF170D7-9CDB-4377-8875-E9CC49561A99}"/>
              </a:ext>
            </a:extLst>
          </p:cNvPr>
          <p:cNvCxnSpPr>
            <a:cxnSpLocks/>
          </p:cNvCxnSpPr>
          <p:nvPr/>
        </p:nvCxnSpPr>
        <p:spPr>
          <a:xfrm>
            <a:off x="2536182" y="152492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D5031A4C-59B8-40CA-9D26-64E18D264EF9}"/>
              </a:ext>
            </a:extLst>
          </p:cNvPr>
          <p:cNvSpPr txBox="1"/>
          <p:nvPr/>
        </p:nvSpPr>
        <p:spPr>
          <a:xfrm>
            <a:off x="6162851" y="3538621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0EDBCD6E-505F-4CBE-B292-CF5BBE9E5823}"/>
              </a:ext>
            </a:extLst>
          </p:cNvPr>
          <p:cNvSpPr txBox="1"/>
          <p:nvPr/>
        </p:nvSpPr>
        <p:spPr>
          <a:xfrm>
            <a:off x="6154994" y="3809822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D395A7CE-5C9D-4E72-B275-C718C2AC7620}"/>
              </a:ext>
            </a:extLst>
          </p:cNvPr>
          <p:cNvSpPr/>
          <p:nvPr/>
        </p:nvSpPr>
        <p:spPr>
          <a:xfrm>
            <a:off x="5881605" y="3216784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CB9A1334-90DA-4869-A03F-B059559DE0E1}"/>
              </a:ext>
            </a:extLst>
          </p:cNvPr>
          <p:cNvSpPr txBox="1"/>
          <p:nvPr/>
        </p:nvSpPr>
        <p:spPr>
          <a:xfrm>
            <a:off x="6178785" y="3181016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13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48DACD3A-5C6F-46F3-AC08-6BD799A93066}"/>
              </a:ext>
            </a:extLst>
          </p:cNvPr>
          <p:cNvSpPr/>
          <p:nvPr/>
        </p:nvSpPr>
        <p:spPr>
          <a:xfrm>
            <a:off x="6178785" y="4106072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7" name="TextovéPole 29">
            <a:extLst>
              <a:ext uri="{FF2B5EF4-FFF2-40B4-BE49-F238E27FC236}">
                <a16:creationId xmlns:a16="http://schemas.microsoft.com/office/drawing/2014/main" id="{F1E2C0D6-A592-4624-83A1-EB4BEA509F8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923866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ovéPole 30">
            <a:extLst>
              <a:ext uri="{FF2B5EF4-FFF2-40B4-BE49-F238E27FC236}">
                <a16:creationId xmlns:a16="http://schemas.microsoft.com/office/drawing/2014/main" id="{5D642656-7EB4-44F1-AC09-83322671E7E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658760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5EE6FAC3-04C4-45C2-813D-1E13F8EE44CF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692509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E11BA8FB-6BE3-48C3-92D1-612036D04F0A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3980379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24">
            <a:extLst>
              <a:ext uri="{FF2B5EF4-FFF2-40B4-BE49-F238E27FC236}">
                <a16:creationId xmlns:a16="http://schemas.microsoft.com/office/drawing/2014/main" id="{54FC5330-D323-42DF-8FDF-9AF907ADA4BF}"/>
              </a:ext>
            </a:extLst>
          </p:cNvPr>
          <p:cNvSpPr txBox="1"/>
          <p:nvPr/>
        </p:nvSpPr>
        <p:spPr>
          <a:xfrm>
            <a:off x="3060057" y="2049151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38647307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28CA04C4-E5D0-47E7-A49C-188D322BDE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Plzeňský kraj</a:t>
            </a:r>
            <a:endParaRPr lang="cs-CZ" sz="1800" dirty="0">
              <a:latin typeface="+mj-lt"/>
            </a:endParaRP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92734C4B-13A7-4CC2-8CBA-660FB059BF7F}"/>
              </a:ext>
            </a:extLst>
          </p:cNvPr>
          <p:cNvGrpSpPr/>
          <p:nvPr/>
        </p:nvGrpSpPr>
        <p:grpSpPr>
          <a:xfrm>
            <a:off x="10808484" y="603203"/>
            <a:ext cx="1351617" cy="270349"/>
            <a:chOff x="12377686" y="5757722"/>
            <a:chExt cx="1982477" cy="396533"/>
          </a:xfrm>
        </p:grpSpPr>
        <p:pic>
          <p:nvPicPr>
            <p:cNvPr id="26" name="Obrázek 25">
              <a:extLst>
                <a:ext uri="{FF2B5EF4-FFF2-40B4-BE49-F238E27FC236}">
                  <a16:creationId xmlns:a16="http://schemas.microsoft.com/office/drawing/2014/main" id="{D91CC516-AD22-48E2-A482-74AC500345F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377686" y="5788188"/>
              <a:ext cx="304979" cy="365828"/>
            </a:xfrm>
            <a:prstGeom prst="rect">
              <a:avLst/>
            </a:prstGeom>
          </p:spPr>
        </p:pic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4544BF98-B351-427B-B1AA-13DDB44BDE6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45786" y="5757722"/>
              <a:ext cx="1514377" cy="396533"/>
            </a:xfrm>
            <a:prstGeom prst="rect">
              <a:avLst/>
            </a:prstGeom>
          </p:spPr>
        </p:pic>
      </p:grpSp>
      <p:graphicFrame>
        <p:nvGraphicFramePr>
          <p:cNvPr id="28" name="Chart 4">
            <a:extLst>
              <a:ext uri="{FF2B5EF4-FFF2-40B4-BE49-F238E27FC236}">
                <a16:creationId xmlns:a16="http://schemas.microsoft.com/office/drawing/2014/main" id="{9E0F1555-C33B-4F4F-A592-A13B90485F2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95072991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1A350885-F0D6-457E-9E0C-FFE67F32DBF4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1B06025-8385-4A32-A083-3ACB90565070}"/>
              </a:ext>
            </a:extLst>
          </p:cNvPr>
          <p:cNvSpPr txBox="1"/>
          <p:nvPr/>
        </p:nvSpPr>
        <p:spPr>
          <a:xfrm>
            <a:off x="202606" y="1216300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97A9945A-9C93-407F-8681-F29EA46A0C33}"/>
              </a:ext>
            </a:extLst>
          </p:cNvPr>
          <p:cNvCxnSpPr>
            <a:cxnSpLocks/>
          </p:cNvCxnSpPr>
          <p:nvPr/>
        </p:nvCxnSpPr>
        <p:spPr>
          <a:xfrm flipV="1">
            <a:off x="2536182" y="1089074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C2504A7C-1AF3-4583-A784-99A77CFC8718}"/>
              </a:ext>
            </a:extLst>
          </p:cNvPr>
          <p:cNvCxnSpPr>
            <a:cxnSpLocks/>
          </p:cNvCxnSpPr>
          <p:nvPr/>
        </p:nvCxnSpPr>
        <p:spPr>
          <a:xfrm>
            <a:off x="2536182" y="1515876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98D76BC2-99EC-426A-98C0-E94970053625}"/>
              </a:ext>
            </a:extLst>
          </p:cNvPr>
          <p:cNvSpPr txBox="1"/>
          <p:nvPr/>
        </p:nvSpPr>
        <p:spPr>
          <a:xfrm>
            <a:off x="6162851" y="3529568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58761469-EA8E-4627-A17C-B2BBADBD13FC}"/>
              </a:ext>
            </a:extLst>
          </p:cNvPr>
          <p:cNvSpPr txBox="1"/>
          <p:nvPr/>
        </p:nvSpPr>
        <p:spPr>
          <a:xfrm>
            <a:off x="6154994" y="3800769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9CBC1479-D1DE-4D68-8FEE-7D4C5751BB7C}"/>
              </a:ext>
            </a:extLst>
          </p:cNvPr>
          <p:cNvSpPr/>
          <p:nvPr/>
        </p:nvSpPr>
        <p:spPr>
          <a:xfrm>
            <a:off x="5881605" y="3207731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0241BBAE-1680-4A3D-8C42-4295F219CEB8}"/>
              </a:ext>
            </a:extLst>
          </p:cNvPr>
          <p:cNvSpPr txBox="1"/>
          <p:nvPr/>
        </p:nvSpPr>
        <p:spPr>
          <a:xfrm>
            <a:off x="6178785" y="3171963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13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43974283-87FC-458D-8A73-1B56477A0DA8}"/>
              </a:ext>
            </a:extLst>
          </p:cNvPr>
          <p:cNvSpPr/>
          <p:nvPr/>
        </p:nvSpPr>
        <p:spPr>
          <a:xfrm>
            <a:off x="6178785" y="4097019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7" name="TextovéPole 29">
            <a:extLst>
              <a:ext uri="{FF2B5EF4-FFF2-40B4-BE49-F238E27FC236}">
                <a16:creationId xmlns:a16="http://schemas.microsoft.com/office/drawing/2014/main" id="{29359733-2426-4213-AE38-0A86DAFBEE5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914813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ovéPole 30">
            <a:extLst>
              <a:ext uri="{FF2B5EF4-FFF2-40B4-BE49-F238E27FC236}">
                <a16:creationId xmlns:a16="http://schemas.microsoft.com/office/drawing/2014/main" id="{4D1E265B-3428-4460-9677-95C4B78D6BA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649707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6A9FF359-9F54-41FF-A1E5-6F01F065413F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683456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BDEF4971-E6C8-4B5F-B742-7234A61B1561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3971326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24">
            <a:extLst>
              <a:ext uri="{FF2B5EF4-FFF2-40B4-BE49-F238E27FC236}">
                <a16:creationId xmlns:a16="http://schemas.microsoft.com/office/drawing/2014/main" id="{4C3FFE50-1D6F-4CC3-81C5-B3D5332A531D}"/>
              </a:ext>
            </a:extLst>
          </p:cNvPr>
          <p:cNvSpPr txBox="1"/>
          <p:nvPr/>
        </p:nvSpPr>
        <p:spPr>
          <a:xfrm>
            <a:off x="3060057" y="2040098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39619469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A9776DF7-0514-47D5-8DE6-30DA8C3E76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Karlovarský kraj</a:t>
            </a:r>
            <a:endParaRPr lang="cs-CZ" sz="1800" dirty="0">
              <a:latin typeface="+mj-lt"/>
            </a:endParaRP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623FE541-A5D1-4B76-8A89-1B4CF569B499}"/>
              </a:ext>
            </a:extLst>
          </p:cNvPr>
          <p:cNvGrpSpPr/>
          <p:nvPr/>
        </p:nvGrpSpPr>
        <p:grpSpPr>
          <a:xfrm>
            <a:off x="10932032" y="558102"/>
            <a:ext cx="1158835" cy="360249"/>
            <a:chOff x="12375318" y="2247704"/>
            <a:chExt cx="1580446" cy="491316"/>
          </a:xfrm>
        </p:grpSpPr>
        <p:pic>
          <p:nvPicPr>
            <p:cNvPr id="26" name="Obrázek 25">
              <a:extLst>
                <a:ext uri="{FF2B5EF4-FFF2-40B4-BE49-F238E27FC236}">
                  <a16:creationId xmlns:a16="http://schemas.microsoft.com/office/drawing/2014/main" id="{7983BECF-DCCE-4999-B75E-91E23E8A9AD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375318" y="2284346"/>
              <a:ext cx="377379" cy="454674"/>
            </a:xfrm>
            <a:prstGeom prst="rect">
              <a:avLst/>
            </a:prstGeom>
          </p:spPr>
        </p:pic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2670E835-88FD-402C-9C89-D71D9F3FADB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2882808" y="2247704"/>
              <a:ext cx="1072956" cy="490274"/>
            </a:xfrm>
            <a:prstGeom prst="rect">
              <a:avLst/>
            </a:prstGeom>
          </p:spPr>
        </p:pic>
      </p:grpSp>
      <p:graphicFrame>
        <p:nvGraphicFramePr>
          <p:cNvPr id="28" name="Chart 4">
            <a:extLst>
              <a:ext uri="{FF2B5EF4-FFF2-40B4-BE49-F238E27FC236}">
                <a16:creationId xmlns:a16="http://schemas.microsoft.com/office/drawing/2014/main" id="{941CD805-5CC5-4D1C-A48A-CC76D0CEAAF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309246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ECE3582C-1955-441F-A69E-035EA7F7C347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0BE99480-54B6-4B09-8030-548DF23F7514}"/>
              </a:ext>
            </a:extLst>
          </p:cNvPr>
          <p:cNvSpPr txBox="1"/>
          <p:nvPr/>
        </p:nvSpPr>
        <p:spPr>
          <a:xfrm>
            <a:off x="202606" y="1333989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5DD3D5A9-20F6-487D-A875-280FB2ABE3B1}"/>
              </a:ext>
            </a:extLst>
          </p:cNvPr>
          <p:cNvCxnSpPr>
            <a:cxnSpLocks/>
          </p:cNvCxnSpPr>
          <p:nvPr/>
        </p:nvCxnSpPr>
        <p:spPr>
          <a:xfrm flipV="1">
            <a:off x="2536182" y="1143392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B4455CC7-13C7-4393-B2AF-3D61ACAF45DA}"/>
              </a:ext>
            </a:extLst>
          </p:cNvPr>
          <p:cNvCxnSpPr>
            <a:cxnSpLocks/>
          </p:cNvCxnSpPr>
          <p:nvPr/>
        </p:nvCxnSpPr>
        <p:spPr>
          <a:xfrm>
            <a:off x="2536182" y="1570194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4E12592A-02D7-4692-99BB-30C6E8591162}"/>
              </a:ext>
            </a:extLst>
          </p:cNvPr>
          <p:cNvSpPr txBox="1"/>
          <p:nvPr/>
        </p:nvSpPr>
        <p:spPr>
          <a:xfrm>
            <a:off x="6162851" y="3583886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5736BB8F-5E0E-4DF1-9F97-61C6BBCDD79F}"/>
              </a:ext>
            </a:extLst>
          </p:cNvPr>
          <p:cNvSpPr txBox="1"/>
          <p:nvPr/>
        </p:nvSpPr>
        <p:spPr>
          <a:xfrm>
            <a:off x="6154994" y="3855087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4A808156-2A2D-4AF8-AA00-65E371C6303F}"/>
              </a:ext>
            </a:extLst>
          </p:cNvPr>
          <p:cNvSpPr/>
          <p:nvPr/>
        </p:nvSpPr>
        <p:spPr>
          <a:xfrm>
            <a:off x="5881605" y="326204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B2416ED1-2B9B-4DDB-A20A-F660E0D76A6B}"/>
              </a:ext>
            </a:extLst>
          </p:cNvPr>
          <p:cNvSpPr txBox="1"/>
          <p:nvPr/>
        </p:nvSpPr>
        <p:spPr>
          <a:xfrm>
            <a:off x="6178785" y="3226281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13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10CE5939-F385-4BCC-BC4A-F9E1690C20F9}"/>
              </a:ext>
            </a:extLst>
          </p:cNvPr>
          <p:cNvSpPr/>
          <p:nvPr/>
        </p:nvSpPr>
        <p:spPr>
          <a:xfrm>
            <a:off x="6178785" y="4151337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7" name="TextovéPole 29">
            <a:extLst>
              <a:ext uri="{FF2B5EF4-FFF2-40B4-BE49-F238E27FC236}">
                <a16:creationId xmlns:a16="http://schemas.microsoft.com/office/drawing/2014/main" id="{AE5E235A-AF93-4742-9B50-DE7D530EFC8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969131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ovéPole 30">
            <a:extLst>
              <a:ext uri="{FF2B5EF4-FFF2-40B4-BE49-F238E27FC236}">
                <a16:creationId xmlns:a16="http://schemas.microsoft.com/office/drawing/2014/main" id="{4DD13501-E7D0-4BE3-905B-F162C74A22A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704025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DACB5213-7CD3-4FC8-A2DD-D63499B87FA7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737774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373E1DCB-E4F2-4167-A3AB-8D09588E9BC5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4025644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24">
            <a:extLst>
              <a:ext uri="{FF2B5EF4-FFF2-40B4-BE49-F238E27FC236}">
                <a16:creationId xmlns:a16="http://schemas.microsoft.com/office/drawing/2014/main" id="{BD6784A8-4200-48C7-9A99-ABAF7B339B6A}"/>
              </a:ext>
            </a:extLst>
          </p:cNvPr>
          <p:cNvSpPr txBox="1"/>
          <p:nvPr/>
        </p:nvSpPr>
        <p:spPr>
          <a:xfrm>
            <a:off x="3060057" y="2094416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39591370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" val="{&quot;SavedSwatch&quot;:&quot;-16748873|-10780376|-3468525|-5151986|-9539986|Markido&quot;,&quot;Id&quot;:&quot;5fbfd0ef3433421cc006b16c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4589</TotalTime>
  <Words>3584</Words>
  <Application>Microsoft Office PowerPoint</Application>
  <PresentationFormat>Širokoúhlá obrazovka</PresentationFormat>
  <Paragraphs>192</Paragraphs>
  <Slides>18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2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18</vt:i4>
      </vt:variant>
    </vt:vector>
  </HeadingPairs>
  <TitlesOfParts>
    <vt:vector size="21" baseType="lpstr">
      <vt:lpstr>Arial</vt:lpstr>
      <vt:lpstr>Calibri</vt:lpstr>
      <vt:lpstr>Motiv Office</vt:lpstr>
      <vt:lpstr>Stav a vývoj epidemie COVID-19  v dostupných datech</vt:lpstr>
      <vt:lpstr>Nové scénáře pro dlouhodobé simulace zahrnující efekt vakcinace </vt:lpstr>
      <vt:lpstr>Scénáře dlouhodobých simulací z 12. 5. 2021</vt:lpstr>
      <vt:lpstr>Stav a vývoj epidemie COVID-19  v dostupných datech</vt:lpstr>
      <vt:lpstr>Scénáře dlouhodobých simulací: Praha</vt:lpstr>
      <vt:lpstr>Scénáře dlouhodobých simulací: Středočeský kraj</vt:lpstr>
      <vt:lpstr>Scénáře dlouhodobých simulací: Jihočeský kraj</vt:lpstr>
      <vt:lpstr>Scénáře dlouhodobých simulací: Plzeňský kraj</vt:lpstr>
      <vt:lpstr>Scénáře dlouhodobých simulací: Karlovarský kraj</vt:lpstr>
      <vt:lpstr>Scénáře dlouhodobých simulací: Ústecký kraj</vt:lpstr>
      <vt:lpstr>Scénáře dlouhodobých simulací: Liberecký kraj</vt:lpstr>
      <vt:lpstr>Scénáře dlouhodobých simulací: Královehradecký kraj</vt:lpstr>
      <vt:lpstr>Scénáře dlouhodobých simulací: Pardubický kraj</vt:lpstr>
      <vt:lpstr>Scénáře dlouhodobých simulací: Kraj Vysočina</vt:lpstr>
      <vt:lpstr>Scénáře dlouhodobých simulací: Jihomoravský kraj</vt:lpstr>
      <vt:lpstr>Scénáře dlouhodobých simulací: Olomoucký kraj</vt:lpstr>
      <vt:lpstr>Scénáře dlouhodobých simulací: Zlínský kraj</vt:lpstr>
      <vt:lpstr>Scénáře dlouhodobých simulací: Moravskoslezský kraj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Nováková Tereza Mgr.</dc:creator>
  <cp:lastModifiedBy>Ladislav Dušek</cp:lastModifiedBy>
  <cp:revision>661</cp:revision>
  <dcterms:created xsi:type="dcterms:W3CDTF">2020-11-16T08:14:04Z</dcterms:created>
  <dcterms:modified xsi:type="dcterms:W3CDTF">2021-06-15T19:49:37Z</dcterms:modified>
</cp:coreProperties>
</file>